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894" r:id="rId5"/>
    <p:sldMasterId id="2147483680" r:id="rId6"/>
    <p:sldMasterId id="2147483749" r:id="rId7"/>
  </p:sldMasterIdLst>
  <p:notesMasterIdLst>
    <p:notesMasterId r:id="rId44"/>
  </p:notesMasterIdLst>
  <p:sldIdLst>
    <p:sldId id="1597" r:id="rId8"/>
    <p:sldId id="1463" r:id="rId9"/>
    <p:sldId id="1659" r:id="rId10"/>
    <p:sldId id="1552" r:id="rId11"/>
    <p:sldId id="1553" r:id="rId12"/>
    <p:sldId id="1554" r:id="rId13"/>
    <p:sldId id="1555" r:id="rId14"/>
    <p:sldId id="1556" r:id="rId15"/>
    <p:sldId id="1677" r:id="rId16"/>
    <p:sldId id="1678" r:id="rId17"/>
    <p:sldId id="1575" r:id="rId18"/>
    <p:sldId id="1570" r:id="rId19"/>
    <p:sldId id="1584" r:id="rId20"/>
    <p:sldId id="291" r:id="rId21"/>
    <p:sldId id="1666" r:id="rId22"/>
    <p:sldId id="1660" r:id="rId23"/>
    <p:sldId id="1665" r:id="rId24"/>
    <p:sldId id="1663" r:id="rId25"/>
    <p:sldId id="279" r:id="rId26"/>
    <p:sldId id="1679" r:id="rId27"/>
    <p:sldId id="1591" r:id="rId28"/>
    <p:sldId id="259" r:id="rId29"/>
    <p:sldId id="260" r:id="rId30"/>
    <p:sldId id="261" r:id="rId31"/>
    <p:sldId id="262" r:id="rId32"/>
    <p:sldId id="1582" r:id="rId33"/>
    <p:sldId id="1670" r:id="rId34"/>
    <p:sldId id="1655" r:id="rId35"/>
    <p:sldId id="1661" r:id="rId36"/>
    <p:sldId id="1583" r:id="rId37"/>
    <p:sldId id="1662" r:id="rId38"/>
    <p:sldId id="1593" r:id="rId39"/>
    <p:sldId id="1464" r:id="rId40"/>
    <p:sldId id="1681" r:id="rId41"/>
    <p:sldId id="1658" r:id="rId42"/>
    <p:sldId id="1465"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677"/>
            <p14:sldId id="1678"/>
            <p14:sldId id="1575"/>
          </p14:sldIdLst>
        </p14:section>
        <p14:section name="Functions" id="{BE9EC3A0-011D-4ED4-9103-9E5274AD4E0F}">
          <p14:sldIdLst>
            <p14:sldId id="1570"/>
            <p14:sldId id="1584"/>
            <p14:sldId id="291"/>
            <p14:sldId id="1666"/>
            <p14:sldId id="1660"/>
            <p14:sldId id="1665"/>
            <p14:sldId id="1663"/>
            <p14:sldId id="279"/>
            <p14:sldId id="1679"/>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583"/>
            <p14:sldId id="1662"/>
          </p14:sldIdLst>
        </p14:section>
        <p14:section name="Final Demo" id="{E5A8F799-1971-4698-9C8B-DFC23C63CA65}">
          <p14:sldIdLst>
            <p14:sldId id="1593"/>
          </p14:sldIdLst>
        </p14:section>
        <p14:section name="Closing" id="{D19A78CC-12A7-48D0-A378-E2753E2E9CCC}">
          <p14:sldIdLst>
            <p14:sldId id="1464"/>
            <p14:sldId id="1681"/>
            <p14:sldId id="1658"/>
            <p14:sldId id="1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99"/>
    <a:srgbClr val="0078D7"/>
    <a:srgbClr val="004B1C"/>
    <a:srgbClr val="008000"/>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72313" autoAdjust="0"/>
  </p:normalViewPr>
  <p:slideViewPr>
    <p:cSldViewPr snapToGrid="0">
      <p:cViewPr varScale="1">
        <p:scale>
          <a:sx n="75" d="100"/>
          <a:sy n="75" d="100"/>
        </p:scale>
        <p:origin x="663" y="4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ableStyles" Target="tableStyles.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Collier" userId="c2873510-4a44-4d85-aef3-d7e8e051fe69" providerId="ADAL" clId="{CB384C6B-A00D-433E-855E-730CF8DB42CF}"/>
    <pc:docChg chg="undo custSel addSld delSld modSld sldOrd delMainMaster modMainMaster modSection">
      <pc:chgData name="Michael Collier" userId="c2873510-4a44-4d85-aef3-d7e8e051fe69" providerId="ADAL" clId="{CB384C6B-A00D-433E-855E-730CF8DB42CF}" dt="2018-03-09T03:51:48.253" v="4065"/>
      <pc:docMkLst>
        <pc:docMk/>
      </pc:docMkLst>
      <pc:sldChg chg="modNotesTx">
        <pc:chgData name="Michael Collier" userId="c2873510-4a44-4d85-aef3-d7e8e051fe69" providerId="ADAL" clId="{CB384C6B-A00D-433E-855E-730CF8DB42CF}" dt="2018-03-09T02:34:41.051" v="3238" actId="20577"/>
        <pc:sldMkLst>
          <pc:docMk/>
          <pc:sldMk cId="3826109755" sldId="259"/>
        </pc:sldMkLst>
      </pc:sldChg>
      <pc:sldChg chg="addSp modSp modAnim">
        <pc:chgData name="Michael Collier" userId="c2873510-4a44-4d85-aef3-d7e8e051fe69" providerId="ADAL" clId="{CB384C6B-A00D-433E-855E-730CF8DB42CF}" dt="2018-03-07T20:42:45.279" v="1476" actId="1076"/>
        <pc:sldMkLst>
          <pc:docMk/>
          <pc:sldMk cId="3015488624" sldId="291"/>
        </pc:sldMkLst>
        <pc:spChg chg="add mod ord">
          <ac:chgData name="Michael Collier" userId="c2873510-4a44-4d85-aef3-d7e8e051fe69" providerId="ADAL" clId="{CB384C6B-A00D-433E-855E-730CF8DB42CF}" dt="2018-03-07T20:42:06.107" v="1473" actId="167"/>
          <ac:spMkLst>
            <pc:docMk/>
            <pc:sldMk cId="3015488624" sldId="291"/>
            <ac:spMk id="2" creationId="{C63A9B13-2CFE-4C94-8410-49A19CF01105}"/>
          </ac:spMkLst>
        </pc:spChg>
        <pc:spChg chg="mod">
          <ac:chgData name="Michael Collier" userId="c2873510-4a44-4d85-aef3-d7e8e051fe69" providerId="ADAL" clId="{CB384C6B-A00D-433E-855E-730CF8DB42CF}" dt="2018-03-07T20:40:27.596" v="1456" actId="255"/>
          <ac:spMkLst>
            <pc:docMk/>
            <pc:sldMk cId="3015488624" sldId="291"/>
            <ac:spMk id="31" creationId="{D69B9DA0-50A6-2D40-9ED8-BE602120876D}"/>
          </ac:spMkLst>
        </pc:spChg>
        <pc:grpChg chg="mod ord">
          <ac:chgData name="Michael Collier" userId="c2873510-4a44-4d85-aef3-d7e8e051fe69" providerId="ADAL" clId="{CB384C6B-A00D-433E-855E-730CF8DB42CF}" dt="2018-03-07T20:42:09.894" v="1474" actId="166"/>
          <ac:grpSpMkLst>
            <pc:docMk/>
            <pc:sldMk cId="3015488624" sldId="291"/>
            <ac:grpSpMk id="32" creationId="{2E8FFFD2-1E07-F442-B390-CFD0EDEFCE34}"/>
          </ac:grpSpMkLst>
        </pc:grpChg>
        <pc:picChg chg="mod">
          <ac:chgData name="Michael Collier" userId="c2873510-4a44-4d85-aef3-d7e8e051fe69" providerId="ADAL" clId="{CB384C6B-A00D-433E-855E-730CF8DB42CF}" dt="2018-03-07T20:40:44.771" v="1461" actId="1076"/>
          <ac:picMkLst>
            <pc:docMk/>
            <pc:sldMk cId="3015488624" sldId="291"/>
            <ac:picMk id="35" creationId="{B5C4F162-1E09-8545-9C3E-C06F0E713ACE}"/>
          </ac:picMkLst>
        </pc:picChg>
      </pc:sldChg>
      <pc:sldChg chg="ord">
        <pc:chgData name="Michael Collier" userId="c2873510-4a44-4d85-aef3-d7e8e051fe69" providerId="ADAL" clId="{CB384C6B-A00D-433E-855E-730CF8DB42CF}" dt="2018-03-09T03:51:48.253" v="4065"/>
        <pc:sldMkLst>
          <pc:docMk/>
          <pc:sldMk cId="230148450" sldId="301"/>
        </pc:sldMkLst>
      </pc:sldChg>
      <pc:sldChg chg="addSp delSp modSp del modTransition">
        <pc:chgData name="Michael Collier" userId="c2873510-4a44-4d85-aef3-d7e8e051fe69" providerId="ADAL" clId="{CB384C6B-A00D-433E-855E-730CF8DB42CF}" dt="2018-03-09T03:16:13.593" v="3880" actId="2696"/>
        <pc:sldMkLst>
          <pc:docMk/>
          <pc:sldMk cId="2827142831" sldId="301"/>
        </pc:sldMkLst>
        <pc:spChg chg="mod">
          <ac:chgData name="Michael Collier" userId="c2873510-4a44-4d85-aef3-d7e8e051fe69" providerId="ADAL" clId="{CB384C6B-A00D-433E-855E-730CF8DB42CF}" dt="2018-03-07T21:54:16.818" v="1582" actId="14100"/>
          <ac:spMkLst>
            <pc:docMk/>
            <pc:sldMk cId="2827142831" sldId="301"/>
            <ac:spMk id="3" creationId="{E62D40A9-056A-457F-9018-9169B7B40F83}"/>
          </ac:spMkLst>
        </pc:spChg>
        <pc:spChg chg="add del mod">
          <ac:chgData name="Michael Collier" userId="c2873510-4a44-4d85-aef3-d7e8e051fe69" providerId="ADAL" clId="{CB384C6B-A00D-433E-855E-730CF8DB42CF}" dt="2018-03-07T21:51:06.398" v="1497" actId="14100"/>
          <ac:spMkLst>
            <pc:docMk/>
            <pc:sldMk cId="2827142831" sldId="301"/>
            <ac:spMk id="4" creationId="{C1444FFE-D529-4592-B95B-B63CB2A2333D}"/>
          </ac:spMkLst>
        </pc:spChg>
        <pc:spChg chg="add del mod">
          <ac:chgData name="Michael Collier" userId="c2873510-4a44-4d85-aef3-d7e8e051fe69" providerId="ADAL" clId="{CB384C6B-A00D-433E-855E-730CF8DB42CF}" dt="2018-03-07T21:51:06.398" v="1497" actId="14100"/>
          <ac:spMkLst>
            <pc:docMk/>
            <pc:sldMk cId="2827142831" sldId="301"/>
            <ac:spMk id="5" creationId="{1C3DF27B-C286-459C-8E71-905D8DD33D12}"/>
          </ac:spMkLst>
        </pc:spChg>
        <pc:spChg chg="add del mod">
          <ac:chgData name="Michael Collier" userId="c2873510-4a44-4d85-aef3-d7e8e051fe69" providerId="ADAL" clId="{CB384C6B-A00D-433E-855E-730CF8DB42CF}" dt="2018-03-07T21:51:06.398" v="1497" actId="14100"/>
          <ac:spMkLst>
            <pc:docMk/>
            <pc:sldMk cId="2827142831" sldId="301"/>
            <ac:spMk id="6" creationId="{2ADD2198-7851-46E1-A49D-DCAAEB6F1794}"/>
          </ac:spMkLst>
        </pc:spChg>
        <pc:spChg chg="add del mod">
          <ac:chgData name="Michael Collier" userId="c2873510-4a44-4d85-aef3-d7e8e051fe69" providerId="ADAL" clId="{CB384C6B-A00D-433E-855E-730CF8DB42CF}" dt="2018-03-07T21:54:04.495" v="1576" actId="14100"/>
          <ac:spMkLst>
            <pc:docMk/>
            <pc:sldMk cId="2827142831" sldId="301"/>
            <ac:spMk id="7" creationId="{B4C6C3EA-411C-422E-BED3-07D88D7A6362}"/>
          </ac:spMkLst>
        </pc:spChg>
        <pc:spChg chg="add del mod">
          <ac:chgData name="Michael Collier" userId="c2873510-4a44-4d85-aef3-d7e8e051fe69" providerId="ADAL" clId="{CB384C6B-A00D-433E-855E-730CF8DB42CF}" dt="2018-03-07T21:54:12.611" v="1578" actId="14100"/>
          <ac:spMkLst>
            <pc:docMk/>
            <pc:sldMk cId="2827142831" sldId="301"/>
            <ac:spMk id="8" creationId="{13DECF41-A08D-469F-B4FE-B8A152C4EE4E}"/>
          </ac:spMkLst>
        </pc:spChg>
        <pc:spChg chg="add del mod">
          <ac:chgData name="Michael Collier" userId="c2873510-4a44-4d85-aef3-d7e8e051fe69" providerId="ADAL" clId="{CB384C6B-A00D-433E-855E-730CF8DB42CF}" dt="2018-03-07T21:54:13.376" v="1579" actId="14100"/>
          <ac:spMkLst>
            <pc:docMk/>
            <pc:sldMk cId="2827142831" sldId="301"/>
            <ac:spMk id="9" creationId="{F6E9769F-FA87-4899-9E03-F17A4F908ED0}"/>
          </ac:spMkLst>
        </pc:spChg>
        <pc:spChg chg="add del mod">
          <ac:chgData name="Michael Collier" userId="c2873510-4a44-4d85-aef3-d7e8e051fe69" providerId="ADAL" clId="{CB384C6B-A00D-433E-855E-730CF8DB42CF}" dt="2018-03-07T21:54:13.616" v="1580" actId="14100"/>
          <ac:spMkLst>
            <pc:docMk/>
            <pc:sldMk cId="2827142831" sldId="301"/>
            <ac:spMk id="10" creationId="{09EB4B07-5061-4D89-B99A-CEB957D0C07E}"/>
          </ac:spMkLst>
        </pc:spChg>
        <pc:spChg chg="add del mod">
          <ac:chgData name="Michael Collier" userId="c2873510-4a44-4d85-aef3-d7e8e051fe69" providerId="ADAL" clId="{CB384C6B-A00D-433E-855E-730CF8DB42CF}" dt="2018-03-07T21:54:13.783" v="1581" actId="14100"/>
          <ac:spMkLst>
            <pc:docMk/>
            <pc:sldMk cId="2827142831" sldId="301"/>
            <ac:spMk id="11" creationId="{4139E439-78E6-4F54-9D1E-72C54D84DA5C}"/>
          </ac:spMkLst>
        </pc:spChg>
      </pc:sldChg>
      <pc:sldChg chg="modSp del">
        <pc:chgData name="Michael Collier" userId="c2873510-4a44-4d85-aef3-d7e8e051fe69" providerId="ADAL" clId="{CB384C6B-A00D-433E-855E-730CF8DB42CF}" dt="2018-03-09T03:45:35.464" v="4021" actId="2696"/>
        <pc:sldMkLst>
          <pc:docMk/>
          <pc:sldMk cId="3280635372" sldId="868"/>
        </pc:sldMkLst>
        <pc:spChg chg="mod">
          <ac:chgData name="Michael Collier" userId="c2873510-4a44-4d85-aef3-d7e8e051fe69" providerId="ADAL" clId="{CB384C6B-A00D-433E-855E-730CF8DB42CF}" dt="2018-03-09T03:44:53.296" v="4020" actId="1076"/>
          <ac:spMkLst>
            <pc:docMk/>
            <pc:sldMk cId="3280635372" sldId="868"/>
            <ac:spMk id="2" creationId="{00000000-0000-0000-0000-000000000000}"/>
          </ac:spMkLst>
        </pc:spChg>
        <pc:picChg chg="mod">
          <ac:chgData name="Michael Collier" userId="c2873510-4a44-4d85-aef3-d7e8e051fe69" providerId="ADAL" clId="{CB384C6B-A00D-433E-855E-730CF8DB42CF}" dt="2018-03-09T03:44:30.361" v="4017" actId="1076"/>
          <ac:picMkLst>
            <pc:docMk/>
            <pc:sldMk cId="3280635372" sldId="868"/>
            <ac:picMk id="19" creationId="{257D776D-2BB6-4684-830B-4F53BBA27AD2}"/>
          </ac:picMkLst>
        </pc:picChg>
      </pc:sldChg>
      <pc:sldChg chg="addSp delSp modSp add del">
        <pc:chgData name="Michael Collier" userId="c2873510-4a44-4d85-aef3-d7e8e051fe69" providerId="ADAL" clId="{CB384C6B-A00D-433E-855E-730CF8DB42CF}" dt="2018-03-09T03:48:48.804" v="4051" actId="20577"/>
        <pc:sldMkLst>
          <pc:docMk/>
          <pc:sldMk cId="1393502866" sldId="1463"/>
        </pc:sldMkLst>
        <pc:spChg chg="add del mod">
          <ac:chgData name="Michael Collier" userId="c2873510-4a44-4d85-aef3-d7e8e051fe69" providerId="ADAL" clId="{CB384C6B-A00D-433E-855E-730CF8DB42CF}" dt="2018-03-07T20:28:47.722" v="1426" actId="14100"/>
          <ac:spMkLst>
            <pc:docMk/>
            <pc:sldMk cId="1393502866" sldId="1463"/>
            <ac:spMk id="2" creationId="{7D703913-9634-420A-AB9A-3BB18F2913FB}"/>
          </ac:spMkLst>
        </pc:spChg>
        <pc:spChg chg="add del mod">
          <ac:chgData name="Michael Collier" userId="c2873510-4a44-4d85-aef3-d7e8e051fe69" providerId="ADAL" clId="{CB384C6B-A00D-433E-855E-730CF8DB42CF}" dt="2018-03-07T20:28:47.722" v="1426" actId="14100"/>
          <ac:spMkLst>
            <pc:docMk/>
            <pc:sldMk cId="1393502866" sldId="1463"/>
            <ac:spMk id="3" creationId="{F51281EE-9D76-498E-981C-37B5FC8D72F8}"/>
          </ac:spMkLst>
        </pc:spChg>
        <pc:spChg chg="mod">
          <ac:chgData name="Michael Collier" userId="c2873510-4a44-4d85-aef3-d7e8e051fe69" providerId="ADAL" clId="{CB384C6B-A00D-433E-855E-730CF8DB42CF}" dt="2018-03-07T20:29:55.998" v="1429" actId="14100"/>
          <ac:spMkLst>
            <pc:docMk/>
            <pc:sldMk cId="1393502866" sldId="1463"/>
            <ac:spMk id="4" creationId="{DB1EB9D5-EF7F-4018-8B18-B0F1F833BF0E}"/>
          </ac:spMkLst>
        </pc:spChg>
        <pc:spChg chg="mod">
          <ac:chgData name="Michael Collier" userId="c2873510-4a44-4d85-aef3-d7e8e051fe69" providerId="ADAL" clId="{CB384C6B-A00D-433E-855E-730CF8DB42CF}" dt="2018-03-09T03:48:48.804" v="4051" actId="20577"/>
          <ac:spMkLst>
            <pc:docMk/>
            <pc:sldMk cId="1393502866" sldId="1463"/>
            <ac:spMk id="5" creationId="{ECBC1C5F-A3FD-4955-915D-F7FA11DCEA9F}"/>
          </ac:spMkLst>
        </pc:spChg>
        <pc:spChg chg="del">
          <ac:chgData name="Michael Collier" userId="c2873510-4a44-4d85-aef3-d7e8e051fe69" providerId="ADAL" clId="{CB384C6B-A00D-433E-855E-730CF8DB42CF}" dt="2018-03-07T17:56:21.084" v="161" actId="14100"/>
          <ac:spMkLst>
            <pc:docMk/>
            <pc:sldMk cId="1393502866" sldId="1463"/>
            <ac:spMk id="6" creationId="{A13D4657-E618-4593-9F65-E24EA936687A}"/>
          </ac:spMkLst>
        </pc:spChg>
      </pc:sldChg>
      <pc:sldChg chg="modSp">
        <pc:chgData name="Michael Collier" userId="c2873510-4a44-4d85-aef3-d7e8e051fe69" providerId="ADAL" clId="{CB384C6B-A00D-433E-855E-730CF8DB42CF}" dt="2018-03-09T03:03:27.787" v="3705" actId="20577"/>
        <pc:sldMkLst>
          <pc:docMk/>
          <pc:sldMk cId="1581655428" sldId="1464"/>
        </pc:sldMkLst>
        <pc:spChg chg="mod">
          <ac:chgData name="Michael Collier" userId="c2873510-4a44-4d85-aef3-d7e8e051fe69" providerId="ADAL" clId="{CB384C6B-A00D-433E-855E-730CF8DB42CF}" dt="2018-03-09T03:03:27.787" v="3705" actId="20577"/>
          <ac:spMkLst>
            <pc:docMk/>
            <pc:sldMk cId="1581655428" sldId="1464"/>
            <ac:spMk id="4" creationId="{FB1C65E1-843B-4EF5-9A54-C9B7F8515418}"/>
          </ac:spMkLst>
        </pc:spChg>
      </pc:sldChg>
      <pc:sldChg chg="del">
        <pc:chgData name="Michael Collier" userId="c2873510-4a44-4d85-aef3-d7e8e051fe69" providerId="ADAL" clId="{CB384C6B-A00D-433E-855E-730CF8DB42CF}" dt="2018-03-09T03:50:15.893" v="4057" actId="2696"/>
        <pc:sldMkLst>
          <pc:docMk/>
          <pc:sldMk cId="564304858" sldId="1552"/>
        </pc:sldMkLst>
      </pc:sldChg>
      <pc:sldChg chg="modSp del">
        <pc:chgData name="Michael Collier" userId="c2873510-4a44-4d85-aef3-d7e8e051fe69" providerId="ADAL" clId="{CB384C6B-A00D-433E-855E-730CF8DB42CF}" dt="2018-03-09T03:50:16.035" v="4058" actId="2696"/>
        <pc:sldMkLst>
          <pc:docMk/>
          <pc:sldMk cId="3010372474" sldId="1553"/>
        </pc:sldMkLst>
        <pc:spChg chg="mod">
          <ac:chgData name="Michael Collier" userId="c2873510-4a44-4d85-aef3-d7e8e051fe69" providerId="ADAL" clId="{CB384C6B-A00D-433E-855E-730CF8DB42CF}" dt="2018-03-09T02:21:48.292" v="3175" actId="27636"/>
          <ac:spMkLst>
            <pc:docMk/>
            <pc:sldMk cId="3010372474" sldId="1553"/>
            <ac:spMk id="100" creationId="{96F58931-72DE-4EFD-9830-571AD5FC2402}"/>
          </ac:spMkLst>
        </pc:spChg>
      </pc:sldChg>
      <pc:sldChg chg="modSp del">
        <pc:chgData name="Michael Collier" userId="c2873510-4a44-4d85-aef3-d7e8e051fe69" providerId="ADAL" clId="{CB384C6B-A00D-433E-855E-730CF8DB42CF}" dt="2018-03-09T03:50:16.093" v="4059" actId="2696"/>
        <pc:sldMkLst>
          <pc:docMk/>
          <pc:sldMk cId="3581665344" sldId="1554"/>
        </pc:sldMkLst>
        <pc:spChg chg="mod">
          <ac:chgData name="Michael Collier" userId="c2873510-4a44-4d85-aef3-d7e8e051fe69" providerId="ADAL" clId="{CB384C6B-A00D-433E-855E-730CF8DB42CF}" dt="2018-03-09T02:21:48.320" v="3176" actId="27636"/>
          <ac:spMkLst>
            <pc:docMk/>
            <pc:sldMk cId="3581665344" sldId="1554"/>
            <ac:spMk id="70" creationId="{7F028B8A-BAB2-4949-ACD1-F4F3AC14D22B}"/>
          </ac:spMkLst>
        </pc:spChg>
      </pc:sldChg>
      <pc:sldChg chg="modSp del">
        <pc:chgData name="Michael Collier" userId="c2873510-4a44-4d85-aef3-d7e8e051fe69" providerId="ADAL" clId="{CB384C6B-A00D-433E-855E-730CF8DB42CF}" dt="2018-03-09T03:50:16.140" v="4060" actId="2696"/>
        <pc:sldMkLst>
          <pc:docMk/>
          <pc:sldMk cId="1446638509" sldId="1555"/>
        </pc:sldMkLst>
        <pc:spChg chg="mod">
          <ac:chgData name="Michael Collier" userId="c2873510-4a44-4d85-aef3-d7e8e051fe69" providerId="ADAL" clId="{CB384C6B-A00D-433E-855E-730CF8DB42CF}" dt="2018-03-09T02:21:48.335" v="3177" actId="27636"/>
          <ac:spMkLst>
            <pc:docMk/>
            <pc:sldMk cId="1446638509" sldId="1555"/>
            <ac:spMk id="44" creationId="{DFFB1F06-F7ED-4FC9-B8DD-821790D92BC1}"/>
          </ac:spMkLst>
        </pc:spChg>
      </pc:sldChg>
      <pc:sldChg chg="modSp del">
        <pc:chgData name="Michael Collier" userId="c2873510-4a44-4d85-aef3-d7e8e051fe69" providerId="ADAL" clId="{CB384C6B-A00D-433E-855E-730CF8DB42CF}" dt="2018-03-09T03:50:16.207" v="4061" actId="2696"/>
        <pc:sldMkLst>
          <pc:docMk/>
          <pc:sldMk cId="2965435736" sldId="1556"/>
        </pc:sldMkLst>
        <pc:spChg chg="mod">
          <ac:chgData name="Michael Collier" userId="c2873510-4a44-4d85-aef3-d7e8e051fe69" providerId="ADAL" clId="{CB384C6B-A00D-433E-855E-730CF8DB42CF}" dt="2018-03-09T02:21:48.344" v="3178" actId="27636"/>
          <ac:spMkLst>
            <pc:docMk/>
            <pc:sldMk cId="2965435736" sldId="1556"/>
            <ac:spMk id="119" creationId="{614DD8F0-91B4-4997-9BE5-2DB29A5948EB}"/>
          </ac:spMkLst>
        </pc:spChg>
      </pc:sldChg>
      <pc:sldChg chg="ord">
        <pc:chgData name="Michael Collier" userId="c2873510-4a44-4d85-aef3-d7e8e051fe69" providerId="ADAL" clId="{CB384C6B-A00D-433E-855E-730CF8DB42CF}" dt="2018-03-09T03:51:48.253" v="4065"/>
        <pc:sldMkLst>
          <pc:docMk/>
          <pc:sldMk cId="1840742443" sldId="1562"/>
        </pc:sldMkLst>
      </pc:sldChg>
      <pc:sldChg chg="addSp delSp modSp del modTransition">
        <pc:chgData name="Michael Collier" userId="c2873510-4a44-4d85-aef3-d7e8e051fe69" providerId="ADAL" clId="{CB384C6B-A00D-433E-855E-730CF8DB42CF}" dt="2018-03-09T03:15:38.209" v="3878" actId="2696"/>
        <pc:sldMkLst>
          <pc:docMk/>
          <pc:sldMk cId="3191871867" sldId="1562"/>
        </pc:sldMkLst>
        <pc:spChg chg="add mod">
          <ac:chgData name="Michael Collier" userId="c2873510-4a44-4d85-aef3-d7e8e051fe69" providerId="ADAL" clId="{CB384C6B-A00D-433E-855E-730CF8DB42CF}" dt="2018-03-09T02:12:11.740" v="3130" actId="1076"/>
          <ac:spMkLst>
            <pc:docMk/>
            <pc:sldMk cId="3191871867" sldId="1562"/>
            <ac:spMk id="2" creationId="{297A0892-9B88-435B-A51C-418BA696D9CC}"/>
          </ac:spMkLst>
        </pc:spChg>
        <pc:spChg chg="del">
          <ac:chgData name="Michael Collier" userId="c2873510-4a44-4d85-aef3-d7e8e051fe69" providerId="ADAL" clId="{CB384C6B-A00D-433E-855E-730CF8DB42CF}" dt="2018-03-09T02:12:14.115" v="3131" actId="478"/>
          <ac:spMkLst>
            <pc:docMk/>
            <pc:sldMk cId="3191871867" sldId="1562"/>
            <ac:spMk id="3" creationId="{C78C35E7-0B68-461F-8D5D-523D4488E378}"/>
          </ac:spMkLst>
        </pc:spChg>
        <pc:spChg chg="mod">
          <ac:chgData name="Michael Collier" userId="c2873510-4a44-4d85-aef3-d7e8e051fe69" providerId="ADAL" clId="{CB384C6B-A00D-433E-855E-730CF8DB42CF}" dt="2018-03-09T02:12:25.357" v="3133" actId="1076"/>
          <ac:spMkLst>
            <pc:docMk/>
            <pc:sldMk cId="3191871867" sldId="1562"/>
            <ac:spMk id="4" creationId="{09F38EB7-32CE-4C24-841F-BE4E60C6DD3B}"/>
          </ac:spMkLst>
        </pc:spChg>
        <pc:spChg chg="mod">
          <ac:chgData name="Michael Collier" userId="c2873510-4a44-4d85-aef3-d7e8e051fe69" providerId="ADAL" clId="{CB384C6B-A00D-433E-855E-730CF8DB42CF}" dt="2018-03-09T02:12:25.357" v="3133" actId="1076"/>
          <ac:spMkLst>
            <pc:docMk/>
            <pc:sldMk cId="3191871867" sldId="1562"/>
            <ac:spMk id="5" creationId="{38324FAE-F834-4CAB-BE60-02C10691E6AD}"/>
          </ac:spMkLst>
        </pc:spChg>
        <pc:spChg chg="mod">
          <ac:chgData name="Michael Collier" userId="c2873510-4a44-4d85-aef3-d7e8e051fe69" providerId="ADAL" clId="{CB384C6B-A00D-433E-855E-730CF8DB42CF}" dt="2018-03-09T02:12:25.357" v="3133" actId="1076"/>
          <ac:spMkLst>
            <pc:docMk/>
            <pc:sldMk cId="3191871867" sldId="1562"/>
            <ac:spMk id="6" creationId="{8C107529-8A5E-4DC6-9E92-4CEC4C8F9F93}"/>
          </ac:spMkLst>
        </pc:spChg>
        <pc:spChg chg="mod">
          <ac:chgData name="Michael Collier" userId="c2873510-4a44-4d85-aef3-d7e8e051fe69" providerId="ADAL" clId="{CB384C6B-A00D-433E-855E-730CF8DB42CF}" dt="2018-03-09T02:12:25.357" v="3133" actId="1076"/>
          <ac:spMkLst>
            <pc:docMk/>
            <pc:sldMk cId="3191871867" sldId="1562"/>
            <ac:spMk id="7" creationId="{BA670B68-216E-4E94-A11E-2DB8C52CE503}"/>
          </ac:spMkLst>
        </pc:spChg>
        <pc:spChg chg="mod">
          <ac:chgData name="Michael Collier" userId="c2873510-4a44-4d85-aef3-d7e8e051fe69" providerId="ADAL" clId="{CB384C6B-A00D-433E-855E-730CF8DB42CF}" dt="2018-03-09T02:12:25.357" v="3133" actId="1076"/>
          <ac:spMkLst>
            <pc:docMk/>
            <pc:sldMk cId="3191871867" sldId="1562"/>
            <ac:spMk id="8" creationId="{F3582905-20B6-474B-A5F3-8CC5AFE9930D}"/>
          </ac:spMkLst>
        </pc:spChg>
        <pc:spChg chg="mod">
          <ac:chgData name="Michael Collier" userId="c2873510-4a44-4d85-aef3-d7e8e051fe69" providerId="ADAL" clId="{CB384C6B-A00D-433E-855E-730CF8DB42CF}" dt="2018-03-09T02:12:25.357" v="3133" actId="1076"/>
          <ac:spMkLst>
            <pc:docMk/>
            <pc:sldMk cId="3191871867" sldId="1562"/>
            <ac:spMk id="9" creationId="{385758AC-406B-4B9F-83EB-80DC98D1C0F0}"/>
          </ac:spMkLst>
        </pc:spChg>
        <pc:spChg chg="mod">
          <ac:chgData name="Michael Collier" userId="c2873510-4a44-4d85-aef3-d7e8e051fe69" providerId="ADAL" clId="{CB384C6B-A00D-433E-855E-730CF8DB42CF}" dt="2018-03-09T02:12:25.357" v="3133" actId="1076"/>
          <ac:spMkLst>
            <pc:docMk/>
            <pc:sldMk cId="3191871867" sldId="1562"/>
            <ac:spMk id="10" creationId="{DB80E689-45E2-4DC5-BCEA-395F7BED7224}"/>
          </ac:spMkLst>
        </pc:spChg>
        <pc:spChg chg="mod">
          <ac:chgData name="Michael Collier" userId="c2873510-4a44-4d85-aef3-d7e8e051fe69" providerId="ADAL" clId="{CB384C6B-A00D-433E-855E-730CF8DB42CF}" dt="2018-03-09T02:12:25.357" v="3133" actId="1076"/>
          <ac:spMkLst>
            <pc:docMk/>
            <pc:sldMk cId="3191871867" sldId="1562"/>
            <ac:spMk id="12" creationId="{F3D80EE5-08B8-46A1-974A-027635ABF894}"/>
          </ac:spMkLst>
        </pc:spChg>
        <pc:spChg chg="mod">
          <ac:chgData name="Michael Collier" userId="c2873510-4a44-4d85-aef3-d7e8e051fe69" providerId="ADAL" clId="{CB384C6B-A00D-433E-855E-730CF8DB42CF}" dt="2018-03-09T02:12:25.357" v="3133" actId="1076"/>
          <ac:spMkLst>
            <pc:docMk/>
            <pc:sldMk cId="3191871867" sldId="1562"/>
            <ac:spMk id="13" creationId="{E26B3911-AF7C-4874-B7A5-7732B228A41A}"/>
          </ac:spMkLst>
        </pc:spChg>
        <pc:spChg chg="mod">
          <ac:chgData name="Michael Collier" userId="c2873510-4a44-4d85-aef3-d7e8e051fe69" providerId="ADAL" clId="{CB384C6B-A00D-433E-855E-730CF8DB42CF}" dt="2018-03-09T02:12:25.357" v="3133" actId="1076"/>
          <ac:spMkLst>
            <pc:docMk/>
            <pc:sldMk cId="3191871867" sldId="1562"/>
            <ac:spMk id="14" creationId="{4EA0D6FA-CB72-4343-9298-62496866B78D}"/>
          </ac:spMkLst>
        </pc:spChg>
        <pc:spChg chg="mod">
          <ac:chgData name="Michael Collier" userId="c2873510-4a44-4d85-aef3-d7e8e051fe69" providerId="ADAL" clId="{CB384C6B-A00D-433E-855E-730CF8DB42CF}" dt="2018-03-09T02:12:25.357" v="3133" actId="1076"/>
          <ac:spMkLst>
            <pc:docMk/>
            <pc:sldMk cId="3191871867" sldId="1562"/>
            <ac:spMk id="15" creationId="{8368F578-26DB-4F68-A436-E66EC4DD45A6}"/>
          </ac:spMkLst>
        </pc:spChg>
        <pc:spChg chg="add del mod">
          <ac:chgData name="Michael Collier" userId="c2873510-4a44-4d85-aef3-d7e8e051fe69" providerId="ADAL" clId="{CB384C6B-A00D-433E-855E-730CF8DB42CF}" dt="2018-03-09T02:12:03.116" v="3114" actId="2696"/>
          <ac:spMkLst>
            <pc:docMk/>
            <pc:sldMk cId="3191871867" sldId="1562"/>
            <ac:spMk id="370" creationId="{76FCA724-D4C4-4BC3-8B7A-B044854737E1}"/>
          </ac:spMkLst>
        </pc:spChg>
        <pc:spChg chg="add del mod">
          <ac:chgData name="Michael Collier" userId="c2873510-4a44-4d85-aef3-d7e8e051fe69" providerId="ADAL" clId="{CB384C6B-A00D-433E-855E-730CF8DB42CF}" dt="2018-03-09T02:12:15.844" v="3132" actId="2696"/>
          <ac:spMkLst>
            <pc:docMk/>
            <pc:sldMk cId="3191871867" sldId="1562"/>
            <ac:spMk id="371" creationId="{C7B7A19F-AF4C-4047-A7E8-89AB4365BC37}"/>
          </ac:spMkLst>
        </pc:spChg>
        <pc:grpChg chg="mod">
          <ac:chgData name="Michael Collier" userId="c2873510-4a44-4d85-aef3-d7e8e051fe69" providerId="ADAL" clId="{CB384C6B-A00D-433E-855E-730CF8DB42CF}" dt="2018-03-09T02:12:25.357" v="3133" actId="1076"/>
          <ac:grpSpMkLst>
            <pc:docMk/>
            <pc:sldMk cId="3191871867" sldId="1562"/>
            <ac:grpSpMk id="17" creationId="{DD8BEE43-820F-448C-9900-23D246B79421}"/>
          </ac:grpSpMkLst>
        </pc:grpChg>
        <pc:picChg chg="mod">
          <ac:chgData name="Michael Collier" userId="c2873510-4a44-4d85-aef3-d7e8e051fe69" providerId="ADAL" clId="{CB384C6B-A00D-433E-855E-730CF8DB42CF}" dt="2018-03-09T02:12:25.357" v="3133" actId="1076"/>
          <ac:picMkLst>
            <pc:docMk/>
            <pc:sldMk cId="3191871867" sldId="1562"/>
            <ac:picMk id="11" creationId="{3CBD8C4C-FDF7-439D-AA61-5B1577A0EA96}"/>
          </ac:picMkLst>
        </pc:picChg>
        <pc:picChg chg="mod">
          <ac:chgData name="Michael Collier" userId="c2873510-4a44-4d85-aef3-d7e8e051fe69" providerId="ADAL" clId="{CB384C6B-A00D-433E-855E-730CF8DB42CF}" dt="2018-03-09T02:12:25.357" v="3133" actId="1076"/>
          <ac:picMkLst>
            <pc:docMk/>
            <pc:sldMk cId="3191871867" sldId="1562"/>
            <ac:picMk id="16" creationId="{357C6A2F-AB52-4624-919B-1195A736A7B6}"/>
          </ac:picMkLst>
        </pc:picChg>
        <pc:picChg chg="mod">
          <ac:chgData name="Michael Collier" userId="c2873510-4a44-4d85-aef3-d7e8e051fe69" providerId="ADAL" clId="{CB384C6B-A00D-433E-855E-730CF8DB42CF}" dt="2018-03-09T02:12:25.357" v="3133" actId="1076"/>
          <ac:picMkLst>
            <pc:docMk/>
            <pc:sldMk cId="3191871867" sldId="1562"/>
            <ac:picMk id="367" creationId="{7915DB02-32EA-47C8-BA3D-8542CA7A2410}"/>
          </ac:picMkLst>
        </pc:picChg>
        <pc:picChg chg="mod">
          <ac:chgData name="Michael Collier" userId="c2873510-4a44-4d85-aef3-d7e8e051fe69" providerId="ADAL" clId="{CB384C6B-A00D-433E-855E-730CF8DB42CF}" dt="2018-03-09T02:12:25.357" v="3133" actId="1076"/>
          <ac:picMkLst>
            <pc:docMk/>
            <pc:sldMk cId="3191871867" sldId="1562"/>
            <ac:picMk id="368" creationId="{389F334A-D7F0-44C9-9467-244EEED195D0}"/>
          </ac:picMkLst>
        </pc:picChg>
        <pc:picChg chg="mod">
          <ac:chgData name="Michael Collier" userId="c2873510-4a44-4d85-aef3-d7e8e051fe69" providerId="ADAL" clId="{CB384C6B-A00D-433E-855E-730CF8DB42CF}" dt="2018-03-09T02:12:25.357" v="3133" actId="1076"/>
          <ac:picMkLst>
            <pc:docMk/>
            <pc:sldMk cId="3191871867" sldId="1562"/>
            <ac:picMk id="369" creationId="{4D02BDAF-922C-473C-BBBD-6D22BCD4472A}"/>
          </ac:picMkLst>
        </pc:picChg>
      </pc:sldChg>
      <pc:sldChg chg="del">
        <pc:chgData name="Michael Collier" userId="c2873510-4a44-4d85-aef3-d7e8e051fe69" providerId="ADAL" clId="{CB384C6B-A00D-433E-855E-730CF8DB42CF}" dt="2018-03-08T20:38:36.983" v="2730" actId="2696"/>
        <pc:sldMkLst>
          <pc:docMk/>
          <pc:sldMk cId="1154688488" sldId="1564"/>
        </pc:sldMkLst>
      </pc:sldChg>
      <pc:sldChg chg="modSp del modTransition">
        <pc:chgData name="Michael Collier" userId="c2873510-4a44-4d85-aef3-d7e8e051fe69" providerId="ADAL" clId="{CB384C6B-A00D-433E-855E-730CF8DB42CF}" dt="2018-03-09T02:35:54.042" v="3240" actId="2696"/>
        <pc:sldMkLst>
          <pc:docMk/>
          <pc:sldMk cId="3172356123" sldId="1568"/>
        </pc:sldMkLst>
        <pc:picChg chg="mod">
          <ac:chgData name="Michael Collier" userId="c2873510-4a44-4d85-aef3-d7e8e051fe69" providerId="ADAL" clId="{CB384C6B-A00D-433E-855E-730CF8DB42CF}" dt="2018-03-09T02:29:21.337" v="3235" actId="14100"/>
          <ac:picMkLst>
            <pc:docMk/>
            <pc:sldMk cId="3172356123" sldId="1568"/>
            <ac:picMk id="10" creationId="{6F17BFEF-EB92-4B97-9B47-41CF60027DAA}"/>
          </ac:picMkLst>
        </pc:picChg>
      </pc:sldChg>
      <pc:sldChg chg="addSp delSp modSp">
        <pc:chgData name="Michael Collier" userId="c2873510-4a44-4d85-aef3-d7e8e051fe69" providerId="ADAL" clId="{CB384C6B-A00D-433E-855E-730CF8DB42CF}" dt="2018-03-09T02:24:07.550" v="3227" actId="1076"/>
        <pc:sldMkLst>
          <pc:docMk/>
          <pc:sldMk cId="3116719474" sldId="1570"/>
        </pc:sldMkLst>
        <pc:spChg chg="add del">
          <ac:chgData name="Michael Collier" userId="c2873510-4a44-4d85-aef3-d7e8e051fe69" providerId="ADAL" clId="{CB384C6B-A00D-433E-855E-730CF8DB42CF}" dt="2018-03-09T02:23:54.431" v="3226" actId="478"/>
          <ac:spMkLst>
            <pc:docMk/>
            <pc:sldMk cId="3116719474" sldId="1570"/>
            <ac:spMk id="7" creationId="{00B502EB-C60D-4CFB-943C-0A15E79D8139}"/>
          </ac:spMkLst>
        </pc:spChg>
        <pc:picChg chg="mod">
          <ac:chgData name="Michael Collier" userId="c2873510-4a44-4d85-aef3-d7e8e051fe69" providerId="ADAL" clId="{CB384C6B-A00D-433E-855E-730CF8DB42CF}" dt="2018-03-09T02:24:07.550" v="3227" actId="1076"/>
          <ac:picMkLst>
            <pc:docMk/>
            <pc:sldMk cId="3116719474" sldId="1570"/>
            <ac:picMk id="15" creationId="{695C3787-335E-491D-AF31-F7248197293D}"/>
          </ac:picMkLst>
        </pc:picChg>
        <pc:picChg chg="mod">
          <ac:chgData name="Michael Collier" userId="c2873510-4a44-4d85-aef3-d7e8e051fe69" providerId="ADAL" clId="{CB384C6B-A00D-433E-855E-730CF8DB42CF}" dt="2018-03-09T02:23:44.620" v="3222" actId="1076"/>
          <ac:picMkLst>
            <pc:docMk/>
            <pc:sldMk cId="3116719474" sldId="1570"/>
            <ac:picMk id="17" creationId="{009733A8-9D12-47E7-86C5-DDB130AB0EAD}"/>
          </ac:picMkLst>
        </pc:picChg>
      </pc:sldChg>
      <pc:sldChg chg="modSp del">
        <pc:chgData name="Michael Collier" userId="c2873510-4a44-4d85-aef3-d7e8e051fe69" providerId="ADAL" clId="{CB384C6B-A00D-433E-855E-730CF8DB42CF}" dt="2018-03-09T03:50:16.253" v="4062" actId="2696"/>
        <pc:sldMkLst>
          <pc:docMk/>
          <pc:sldMk cId="1478469026" sldId="1578"/>
        </pc:sldMkLst>
        <pc:grpChg chg="mod">
          <ac:chgData name="Michael Collier" userId="c2873510-4a44-4d85-aef3-d7e8e051fe69" providerId="ADAL" clId="{CB384C6B-A00D-433E-855E-730CF8DB42CF}" dt="2018-03-09T02:22:45.110" v="3214" actId="1076"/>
          <ac:grpSpMkLst>
            <pc:docMk/>
            <pc:sldMk cId="1478469026" sldId="1578"/>
            <ac:grpSpMk id="202" creationId="{00000000-0000-0000-0000-000000000000}"/>
          </ac:grpSpMkLst>
        </pc:grpChg>
        <pc:grpChg chg="mod">
          <ac:chgData name="Michael Collier" userId="c2873510-4a44-4d85-aef3-d7e8e051fe69" providerId="ADAL" clId="{CB384C6B-A00D-433E-855E-730CF8DB42CF}" dt="2018-03-09T02:22:45.110" v="3214" actId="1076"/>
          <ac:grpSpMkLst>
            <pc:docMk/>
            <pc:sldMk cId="1478469026" sldId="1578"/>
            <ac:grpSpMk id="203" creationId="{00000000-0000-0000-0000-000000000000}"/>
          </ac:grpSpMkLst>
        </pc:grpChg>
        <pc:grpChg chg="mod">
          <ac:chgData name="Michael Collier" userId="c2873510-4a44-4d85-aef3-d7e8e051fe69" providerId="ADAL" clId="{CB384C6B-A00D-433E-855E-730CF8DB42CF}" dt="2018-03-09T02:22:45.110" v="3214" actId="1076"/>
          <ac:grpSpMkLst>
            <pc:docMk/>
            <pc:sldMk cId="1478469026" sldId="1578"/>
            <ac:grpSpMk id="204" creationId="{00000000-0000-0000-0000-000000000000}"/>
          </ac:grpSpMkLst>
        </pc:grpChg>
      </pc:sldChg>
      <pc:sldChg chg="modSp del">
        <pc:chgData name="Michael Collier" userId="c2873510-4a44-4d85-aef3-d7e8e051fe69" providerId="ADAL" clId="{CB384C6B-A00D-433E-855E-730CF8DB42CF}" dt="2018-03-09T03:50:16.308" v="4063" actId="2696"/>
        <pc:sldMkLst>
          <pc:docMk/>
          <pc:sldMk cId="103027610" sldId="1579"/>
        </pc:sldMkLst>
        <pc:grpChg chg="mod">
          <ac:chgData name="Michael Collier" userId="c2873510-4a44-4d85-aef3-d7e8e051fe69" providerId="ADAL" clId="{CB384C6B-A00D-433E-855E-730CF8DB42CF}" dt="2018-03-09T02:22:59.018" v="3216" actId="1076"/>
          <ac:grpSpMkLst>
            <pc:docMk/>
            <pc:sldMk cId="103027610" sldId="1579"/>
            <ac:grpSpMk id="172" creationId="{00000000-0000-0000-0000-000000000000}"/>
          </ac:grpSpMkLst>
        </pc:grpChg>
        <pc:grpChg chg="mod">
          <ac:chgData name="Michael Collier" userId="c2873510-4a44-4d85-aef3-d7e8e051fe69" providerId="ADAL" clId="{CB384C6B-A00D-433E-855E-730CF8DB42CF}" dt="2018-03-09T02:22:59.018" v="3216" actId="1076"/>
          <ac:grpSpMkLst>
            <pc:docMk/>
            <pc:sldMk cId="103027610" sldId="1579"/>
            <ac:grpSpMk id="173" creationId="{00000000-0000-0000-0000-000000000000}"/>
          </ac:grpSpMkLst>
        </pc:grpChg>
        <pc:grpChg chg="mod">
          <ac:chgData name="Michael Collier" userId="c2873510-4a44-4d85-aef3-d7e8e051fe69" providerId="ADAL" clId="{CB384C6B-A00D-433E-855E-730CF8DB42CF}" dt="2018-03-09T02:22:59.018" v="3216" actId="1076"/>
          <ac:grpSpMkLst>
            <pc:docMk/>
            <pc:sldMk cId="103027610" sldId="1579"/>
            <ac:grpSpMk id="174" creationId="{00000000-0000-0000-0000-000000000000}"/>
          </ac:grpSpMkLst>
        </pc:grpChg>
      </pc:sldChg>
      <pc:sldChg chg="modNotesTx">
        <pc:chgData name="Michael Collier" userId="c2873510-4a44-4d85-aef3-d7e8e051fe69" providerId="ADAL" clId="{CB384C6B-A00D-433E-855E-730CF8DB42CF}" dt="2018-03-08T20:39:04.933" v="2765" actId="20577"/>
        <pc:sldMkLst>
          <pc:docMk/>
          <pc:sldMk cId="3070671506" sldId="1583"/>
        </pc:sldMkLst>
      </pc:sldChg>
      <pc:sldChg chg="modSp">
        <pc:chgData name="Michael Collier" userId="c2873510-4a44-4d85-aef3-d7e8e051fe69" providerId="ADAL" clId="{CB384C6B-A00D-433E-855E-730CF8DB42CF}" dt="2018-03-09T02:11:28.954" v="3106" actId="1076"/>
        <pc:sldMkLst>
          <pc:docMk/>
          <pc:sldMk cId="4028739318" sldId="1584"/>
        </pc:sldMkLst>
        <pc:spChg chg="mod">
          <ac:chgData name="Michael Collier" userId="c2873510-4a44-4d85-aef3-d7e8e051fe69" providerId="ADAL" clId="{CB384C6B-A00D-433E-855E-730CF8DB42CF}" dt="2018-03-09T02:10:50.688" v="3097" actId="403"/>
          <ac:spMkLst>
            <pc:docMk/>
            <pc:sldMk cId="4028739318" sldId="1584"/>
            <ac:spMk id="5" creationId="{00000000-0000-0000-0000-000000000000}"/>
          </ac:spMkLst>
        </pc:spChg>
        <pc:spChg chg="mod">
          <ac:chgData name="Michael Collier" userId="c2873510-4a44-4d85-aef3-d7e8e051fe69" providerId="ADAL" clId="{CB384C6B-A00D-433E-855E-730CF8DB42CF}" dt="2018-03-09T02:11:28.954" v="3106" actId="1076"/>
          <ac:spMkLst>
            <pc:docMk/>
            <pc:sldMk cId="4028739318" sldId="1584"/>
            <ac:spMk id="27" creationId="{00000000-0000-0000-0000-000000000000}"/>
          </ac:spMkLst>
        </pc:spChg>
        <pc:spChg chg="mod">
          <ac:chgData name="Michael Collier" userId="c2873510-4a44-4d85-aef3-d7e8e051fe69" providerId="ADAL" clId="{CB384C6B-A00D-433E-855E-730CF8DB42CF}" dt="2018-03-09T02:11:25.770" v="3105" actId="1076"/>
          <ac:spMkLst>
            <pc:docMk/>
            <pc:sldMk cId="4028739318" sldId="1584"/>
            <ac:spMk id="45" creationId="{00000000-0000-0000-0000-000000000000}"/>
          </ac:spMkLst>
        </pc:spChg>
        <pc:spChg chg="mod">
          <ac:chgData name="Michael Collier" userId="c2873510-4a44-4d85-aef3-d7e8e051fe69" providerId="ADAL" clId="{CB384C6B-A00D-433E-855E-730CF8DB42CF}" dt="2018-03-09T02:11:04.998" v="3101" actId="14100"/>
          <ac:spMkLst>
            <pc:docMk/>
            <pc:sldMk cId="4028739318" sldId="1584"/>
            <ac:spMk id="47" creationId="{00000000-0000-0000-0000-000000000000}"/>
          </ac:spMkLst>
        </pc:spChg>
        <pc:spChg chg="mod">
          <ac:chgData name="Michael Collier" userId="c2873510-4a44-4d85-aef3-d7e8e051fe69" providerId="ADAL" clId="{CB384C6B-A00D-433E-855E-730CF8DB42CF}" dt="2018-03-09T02:10:55.941" v="3099" actId="403"/>
          <ac:spMkLst>
            <pc:docMk/>
            <pc:sldMk cId="4028739318" sldId="1584"/>
            <ac:spMk id="48" creationId="{00000000-0000-0000-0000-000000000000}"/>
          </ac:spMkLst>
        </pc:spChg>
        <pc:grpChg chg="mod">
          <ac:chgData name="Michael Collier" userId="c2873510-4a44-4d85-aef3-d7e8e051fe69" providerId="ADAL" clId="{CB384C6B-A00D-433E-855E-730CF8DB42CF}" dt="2018-03-09T02:11:20.125" v="3104" actId="1076"/>
          <ac:grpSpMkLst>
            <pc:docMk/>
            <pc:sldMk cId="4028739318" sldId="1584"/>
            <ac:grpSpMk id="8" creationId="{487227BE-3AA1-4C60-910D-6011E99721AD}"/>
          </ac:grpSpMkLst>
        </pc:grpChg>
        <pc:picChg chg="mod">
          <ac:chgData name="Michael Collier" userId="c2873510-4a44-4d85-aef3-d7e8e051fe69" providerId="ADAL" clId="{CB384C6B-A00D-433E-855E-730CF8DB42CF}" dt="2018-03-09T02:11:16.562" v="3102" actId="1076"/>
          <ac:picMkLst>
            <pc:docMk/>
            <pc:sldMk cId="4028739318" sldId="1584"/>
            <ac:picMk id="10" creationId="{F46B04FD-CD20-4A04-AC25-AD0395A4763D}"/>
          </ac:picMkLst>
        </pc:picChg>
        <pc:picChg chg="mod">
          <ac:chgData name="Michael Collier" userId="c2873510-4a44-4d85-aef3-d7e8e051fe69" providerId="ADAL" clId="{CB384C6B-A00D-433E-855E-730CF8DB42CF}" dt="2018-03-09T02:11:16.562" v="3102" actId="1076"/>
          <ac:picMkLst>
            <pc:docMk/>
            <pc:sldMk cId="4028739318" sldId="1584"/>
            <ac:picMk id="12"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4"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6"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8"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20" creationId="{00000000-0000-0000-0000-000000000000}"/>
          </ac:picMkLst>
        </pc:picChg>
      </pc:sldChg>
      <pc:sldChg chg="del ord modTransition">
        <pc:chgData name="Michael Collier" userId="c2873510-4a44-4d85-aef3-d7e8e051fe69" providerId="ADAL" clId="{CB384C6B-A00D-433E-855E-730CF8DB42CF}" dt="2018-03-09T02:26:16.118" v="3229" actId="2696"/>
        <pc:sldMkLst>
          <pc:docMk/>
          <pc:sldMk cId="707555767" sldId="1586"/>
        </pc:sldMkLst>
      </pc:sldChg>
      <pc:sldChg chg="add del">
        <pc:chgData name="Michael Collier" userId="c2873510-4a44-4d85-aef3-d7e8e051fe69" providerId="ADAL" clId="{CB384C6B-A00D-433E-855E-730CF8DB42CF}" dt="2018-03-09T02:26:25.280" v="3231" actId="20577"/>
        <pc:sldMkLst>
          <pc:docMk/>
          <pc:sldMk cId="3213817584" sldId="1586"/>
        </pc:sldMkLst>
      </pc:sldChg>
      <pc:sldChg chg="add ord">
        <pc:chgData name="Michael Collier" userId="c2873510-4a44-4d85-aef3-d7e8e051fe69" providerId="ADAL" clId="{CB384C6B-A00D-433E-855E-730CF8DB42CF}" dt="2018-03-09T03:51:48.253" v="4065"/>
        <pc:sldMkLst>
          <pc:docMk/>
          <pc:sldMk cId="3319574289" sldId="1586"/>
        </pc:sldMkLst>
      </pc:sldChg>
      <pc:sldChg chg="ord">
        <pc:chgData name="Michael Collier" userId="c2873510-4a44-4d85-aef3-d7e8e051fe69" providerId="ADAL" clId="{CB384C6B-A00D-433E-855E-730CF8DB42CF}" dt="2018-03-09T03:51:48.253" v="4065"/>
        <pc:sldMkLst>
          <pc:docMk/>
          <pc:sldMk cId="2552885143" sldId="1588"/>
        </pc:sldMkLst>
      </pc:sldChg>
      <pc:sldChg chg="ord">
        <pc:chgData name="Michael Collier" userId="c2873510-4a44-4d85-aef3-d7e8e051fe69" providerId="ADAL" clId="{CB384C6B-A00D-433E-855E-730CF8DB42CF}" dt="2018-03-09T03:51:48.253" v="4065"/>
        <pc:sldMkLst>
          <pc:docMk/>
          <pc:sldMk cId="437669315" sldId="1589"/>
        </pc:sldMkLst>
      </pc:sldChg>
      <pc:sldChg chg="addSp modSp ord modNotesTx">
        <pc:chgData name="Michael Collier" userId="c2873510-4a44-4d85-aef3-d7e8e051fe69" providerId="ADAL" clId="{CB384C6B-A00D-433E-855E-730CF8DB42CF}" dt="2018-03-09T02:39:04.930" v="3421" actId="947"/>
        <pc:sldMkLst>
          <pc:docMk/>
          <pc:sldMk cId="705376088" sldId="1591"/>
        </pc:sldMkLst>
        <pc:spChg chg="add mod">
          <ac:chgData name="Michael Collier" userId="c2873510-4a44-4d85-aef3-d7e8e051fe69" providerId="ADAL" clId="{CB384C6B-A00D-433E-855E-730CF8DB42CF}" dt="2018-03-09T02:38:41.248" v="3416" actId="14100"/>
          <ac:spMkLst>
            <pc:docMk/>
            <pc:sldMk cId="705376088" sldId="1591"/>
            <ac:spMk id="2" creationId="{B479485D-6526-4F8C-BEE8-6386EC508059}"/>
          </ac:spMkLst>
        </pc:spChg>
        <pc:spChg chg="mod">
          <ac:chgData name="Michael Collier" userId="c2873510-4a44-4d85-aef3-d7e8e051fe69" providerId="ADAL" clId="{CB384C6B-A00D-433E-855E-730CF8DB42CF}" dt="2018-03-09T02:39:04.930" v="3421" actId="947"/>
          <ac:spMkLst>
            <pc:docMk/>
            <pc:sldMk cId="705376088" sldId="1591"/>
            <ac:spMk id="8" creationId="{00000000-0000-0000-0000-000000000000}"/>
          </ac:spMkLst>
        </pc:spChg>
      </pc:sldChg>
      <pc:sldChg chg="ord">
        <pc:chgData name="Michael Collier" userId="c2873510-4a44-4d85-aef3-d7e8e051fe69" providerId="ADAL" clId="{CB384C6B-A00D-433E-855E-730CF8DB42CF}" dt="2018-03-09T03:51:48.253" v="4065"/>
        <pc:sldMkLst>
          <pc:docMk/>
          <pc:sldMk cId="1613775756" sldId="1595"/>
        </pc:sldMkLst>
      </pc:sldChg>
      <pc:sldChg chg="del modTransition">
        <pc:chgData name="Michael Collier" userId="c2873510-4a44-4d85-aef3-d7e8e051fe69" providerId="ADAL" clId="{CB384C6B-A00D-433E-855E-730CF8DB42CF}" dt="2018-03-09T02:59:21.817" v="3646" actId="2696"/>
        <pc:sldMkLst>
          <pc:docMk/>
          <pc:sldMk cId="2311906511" sldId="1595"/>
        </pc:sldMkLst>
      </pc:sldChg>
      <pc:sldChg chg="addSp modSp add modTransition">
        <pc:chgData name="Michael Collier" userId="c2873510-4a44-4d85-aef3-d7e8e051fe69" providerId="ADAL" clId="{CB384C6B-A00D-433E-855E-730CF8DB42CF}" dt="2018-03-08T20:37:11.038" v="2655" actId="255"/>
        <pc:sldMkLst>
          <pc:docMk/>
          <pc:sldMk cId="3633545289" sldId="1597"/>
        </pc:sldMkLst>
        <pc:spChg chg="add mod">
          <ac:chgData name="Michael Collier" userId="c2873510-4a44-4d85-aef3-d7e8e051fe69" providerId="ADAL" clId="{CB384C6B-A00D-433E-855E-730CF8DB42CF}" dt="2018-03-08T20:36:50.509" v="2650" actId="20577"/>
          <ac:spMkLst>
            <pc:docMk/>
            <pc:sldMk cId="3633545289" sldId="1597"/>
            <ac:spMk id="2" creationId="{C63313FA-B62B-4877-901D-91DE5308DBB5}"/>
          </ac:spMkLst>
        </pc:spChg>
        <pc:spChg chg="add mod">
          <ac:chgData name="Michael Collier" userId="c2873510-4a44-4d85-aef3-d7e8e051fe69" providerId="ADAL" clId="{CB384C6B-A00D-433E-855E-730CF8DB42CF}" dt="2018-03-08T20:37:11.038" v="2655" actId="255"/>
          <ac:spMkLst>
            <pc:docMk/>
            <pc:sldMk cId="3633545289" sldId="1597"/>
            <ac:spMk id="3" creationId="{6E715BCE-C51B-4694-A4A8-1FAC5F6AD665}"/>
          </ac:spMkLst>
        </pc:spChg>
        <pc:spChg chg="add mod">
          <ac:chgData name="Michael Collier" userId="c2873510-4a44-4d85-aef3-d7e8e051fe69" providerId="ADAL" clId="{CB384C6B-A00D-433E-855E-730CF8DB42CF}" dt="2018-03-07T17:30:05.535" v="48" actId="1076"/>
          <ac:spMkLst>
            <pc:docMk/>
            <pc:sldMk cId="3633545289" sldId="1597"/>
            <ac:spMk id="4" creationId="{67C15052-3D3A-4747-BA25-C8BFFC4C090C}"/>
          </ac:spMkLst>
        </pc:spChg>
      </pc:sldChg>
      <pc:sldChg chg="addSp delSp modSp">
        <pc:chgData name="Michael Collier" userId="c2873510-4a44-4d85-aef3-d7e8e051fe69" providerId="ADAL" clId="{CB384C6B-A00D-433E-855E-730CF8DB42CF}" dt="2018-03-09T02:15:32.382" v="3166" actId="20577"/>
        <pc:sldMkLst>
          <pc:docMk/>
          <pc:sldMk cId="3618179520" sldId="1602"/>
        </pc:sldMkLst>
        <pc:spChg chg="add del mod">
          <ac:chgData name="Michael Collier" userId="c2873510-4a44-4d85-aef3-d7e8e051fe69" providerId="ADAL" clId="{CB384C6B-A00D-433E-855E-730CF8DB42CF}" dt="2018-03-09T02:15:32.382" v="3166" actId="20577"/>
          <ac:spMkLst>
            <pc:docMk/>
            <pc:sldMk cId="3618179520" sldId="1602"/>
            <ac:spMk id="4" creationId="{464A6E0C-7177-4537-85FC-ACF89862B8A7}"/>
          </ac:spMkLst>
        </pc:spChg>
        <pc:spChg chg="mod">
          <ac:chgData name="Michael Collier" userId="c2873510-4a44-4d85-aef3-d7e8e051fe69" providerId="ADAL" clId="{CB384C6B-A00D-433E-855E-730CF8DB42CF}" dt="2018-03-07T17:50:58.631" v="87" actId="14100"/>
          <ac:spMkLst>
            <pc:docMk/>
            <pc:sldMk cId="3618179520" sldId="1602"/>
            <ac:spMk id="19" creationId="{00000000-0000-0000-0000-000000000000}"/>
          </ac:spMkLst>
        </pc:spChg>
        <pc:spChg chg="mod">
          <ac:chgData name="Michael Collier" userId="c2873510-4a44-4d85-aef3-d7e8e051fe69" providerId="ADAL" clId="{CB384C6B-A00D-433E-855E-730CF8DB42CF}" dt="2018-03-07T17:51:08.821" v="88" actId="14100"/>
          <ac:spMkLst>
            <pc:docMk/>
            <pc:sldMk cId="3618179520" sldId="1602"/>
            <ac:spMk id="20" creationId="{00000000-0000-0000-0000-000000000000}"/>
          </ac:spMkLst>
        </pc:spChg>
        <pc:spChg chg="mod">
          <ac:chgData name="Michael Collier" userId="c2873510-4a44-4d85-aef3-d7e8e051fe69" providerId="ADAL" clId="{CB384C6B-A00D-433E-855E-730CF8DB42CF}" dt="2018-03-07T17:50:45.074" v="86" actId="114"/>
          <ac:spMkLst>
            <pc:docMk/>
            <pc:sldMk cId="3618179520" sldId="1602"/>
            <ac:spMk id="41" creationId="{00000000-0000-0000-0000-000000000000}"/>
          </ac:spMkLst>
        </pc:spChg>
        <pc:picChg chg="add mod modCrop">
          <ac:chgData name="Michael Collier" userId="c2873510-4a44-4d85-aef3-d7e8e051fe69" providerId="ADAL" clId="{CB384C6B-A00D-433E-855E-730CF8DB42CF}" dt="2018-03-07T17:52:27.035" v="100" actId="14100"/>
          <ac:picMkLst>
            <pc:docMk/>
            <pc:sldMk cId="3618179520" sldId="1602"/>
            <ac:picMk id="1026" creationId="{1B3CB6AD-DBBD-4334-BEB3-4395505EB7E2}"/>
          </ac:picMkLst>
        </pc:picChg>
        <pc:picChg chg="del mod">
          <ac:chgData name="Michael Collier" userId="c2873510-4a44-4d85-aef3-d7e8e051fe69" providerId="ADAL" clId="{CB384C6B-A00D-433E-855E-730CF8DB42CF}" dt="2018-03-07T17:51:57.549" v="93" actId="478"/>
          <ac:picMkLst>
            <pc:docMk/>
            <pc:sldMk cId="3618179520" sldId="1602"/>
            <ac:picMk id="2056" creationId="{957793CC-6395-4D71-8F16-C6EB5ACF12F4}"/>
          </ac:picMkLst>
        </pc:picChg>
      </pc:sldChg>
      <pc:sldChg chg="addSp delSp modSp add">
        <pc:chgData name="Michael Collier" userId="c2873510-4a44-4d85-aef3-d7e8e051fe69" providerId="ADAL" clId="{CB384C6B-A00D-433E-855E-730CF8DB42CF}" dt="2018-03-09T02:16:32.552" v="3169" actId="207"/>
        <pc:sldMkLst>
          <pc:docMk/>
          <pc:sldMk cId="4111969449" sldId="1646"/>
        </pc:sldMkLst>
        <pc:spChg chg="mod">
          <ac:chgData name="Michael Collier" userId="c2873510-4a44-4d85-aef3-d7e8e051fe69" providerId="ADAL" clId="{CB384C6B-A00D-433E-855E-730CF8DB42CF}" dt="2018-03-09T02:15:31.526" v="3165" actId="1076"/>
          <ac:spMkLst>
            <pc:docMk/>
            <pc:sldMk cId="4111969449" sldId="1646"/>
            <ac:spMk id="2" creationId="{00000000-0000-0000-0000-000000000000}"/>
          </ac:spMkLst>
        </pc:spChg>
        <pc:spChg chg="add mod">
          <ac:chgData name="Michael Collier" userId="c2873510-4a44-4d85-aef3-d7e8e051fe69" providerId="ADAL" clId="{CB384C6B-A00D-433E-855E-730CF8DB42CF}" dt="2018-03-09T02:16:32.552" v="3169" actId="207"/>
          <ac:spMkLst>
            <pc:docMk/>
            <pc:sldMk cId="4111969449" sldId="1646"/>
            <ac:spMk id="4" creationId="{EB2084A6-CC6F-477D-9F98-FE752D256CAF}"/>
          </ac:spMkLst>
        </pc:spChg>
        <pc:spChg chg="add mod">
          <ac:chgData name="Michael Collier" userId="c2873510-4a44-4d85-aef3-d7e8e051fe69" providerId="ADAL" clId="{CB384C6B-A00D-433E-855E-730CF8DB42CF}" dt="2018-03-07T17:55:18.918" v="156" actId="1076"/>
          <ac:spMkLst>
            <pc:docMk/>
            <pc:sldMk cId="4111969449" sldId="1646"/>
            <ac:spMk id="5" creationId="{AA5374D7-EA10-44DD-A28C-18A8955F3899}"/>
          </ac:spMkLst>
        </pc:spChg>
        <pc:spChg chg="add del mod">
          <ac:chgData name="Michael Collier" userId="c2873510-4a44-4d85-aef3-d7e8e051fe69" providerId="ADAL" clId="{CB384C6B-A00D-433E-855E-730CF8DB42CF}" dt="2018-03-09T02:15:32.382" v="3166" actId="207"/>
          <ac:spMkLst>
            <pc:docMk/>
            <pc:sldMk cId="4111969449" sldId="1646"/>
            <ac:spMk id="6" creationId="{99DFA540-8F99-4AA1-9A00-6BFD4F4E6374}"/>
          </ac:spMkLst>
        </pc:spChg>
        <pc:spChg chg="add del mod">
          <ac:chgData name="Michael Collier" userId="c2873510-4a44-4d85-aef3-d7e8e051fe69" providerId="ADAL" clId="{CB384C6B-A00D-433E-855E-730CF8DB42CF}" dt="2018-03-09T02:15:50.374" v="3168" actId="207"/>
          <ac:spMkLst>
            <pc:docMk/>
            <pc:sldMk cId="4111969449" sldId="1646"/>
            <ac:spMk id="7" creationId="{43BFE88D-8CC1-4AE7-BC8C-4F2A507C3109}"/>
          </ac:spMkLst>
        </pc:spChg>
        <pc:spChg chg="del">
          <ac:chgData name="Michael Collier" userId="c2873510-4a44-4d85-aef3-d7e8e051fe69" providerId="ADAL" clId="{CB384C6B-A00D-433E-855E-730CF8DB42CF}" dt="2018-03-07T17:53:03.741" v="107" actId="478"/>
          <ac:spMkLst>
            <pc:docMk/>
            <pc:sldMk cId="4111969449" sldId="1646"/>
            <ac:spMk id="19" creationId="{00000000-0000-0000-0000-000000000000}"/>
          </ac:spMkLst>
        </pc:spChg>
        <pc:spChg chg="del">
          <ac:chgData name="Michael Collier" userId="c2873510-4a44-4d85-aef3-d7e8e051fe69" providerId="ADAL" clId="{CB384C6B-A00D-433E-855E-730CF8DB42CF}" dt="2018-03-07T17:53:04.964" v="108" actId="478"/>
          <ac:spMkLst>
            <pc:docMk/>
            <pc:sldMk cId="4111969449" sldId="1646"/>
            <ac:spMk id="20" creationId="{00000000-0000-0000-0000-000000000000}"/>
          </ac:spMkLst>
        </pc:spChg>
        <pc:spChg chg="del mod">
          <ac:chgData name="Michael Collier" userId="c2873510-4a44-4d85-aef3-d7e8e051fe69" providerId="ADAL" clId="{CB384C6B-A00D-433E-855E-730CF8DB42CF}" dt="2018-03-07T17:53:00.386" v="105" actId="478"/>
          <ac:spMkLst>
            <pc:docMk/>
            <pc:sldMk cId="4111969449" sldId="1646"/>
            <ac:spMk id="21" creationId="{00000000-0000-0000-0000-000000000000}"/>
          </ac:spMkLst>
        </pc:spChg>
        <pc:spChg chg="add mod">
          <ac:chgData name="Michael Collier" userId="c2873510-4a44-4d85-aef3-d7e8e051fe69" providerId="ADAL" clId="{CB384C6B-A00D-433E-855E-730CF8DB42CF}" dt="2018-03-07T17:55:28.713" v="158" actId="1076"/>
          <ac:spMkLst>
            <pc:docMk/>
            <pc:sldMk cId="4111969449" sldId="1646"/>
            <ac:spMk id="26" creationId="{11E3F0DA-F796-45F3-AC89-C6DEBE84AFA4}"/>
          </ac:spMkLst>
        </pc:spChg>
        <pc:spChg chg="mod">
          <ac:chgData name="Michael Collier" userId="c2873510-4a44-4d85-aef3-d7e8e051fe69" providerId="ADAL" clId="{CB384C6B-A00D-433E-855E-730CF8DB42CF}" dt="2018-03-09T02:15:30.901" v="3164" actId="1076"/>
          <ac:spMkLst>
            <pc:docMk/>
            <pc:sldMk cId="4111969449" sldId="1646"/>
            <ac:spMk id="33" creationId="{00000000-0000-0000-0000-000000000000}"/>
          </ac:spMkLst>
        </pc:spChg>
        <pc:spChg chg="del">
          <ac:chgData name="Michael Collier" userId="c2873510-4a44-4d85-aef3-d7e8e051fe69" providerId="ADAL" clId="{CB384C6B-A00D-433E-855E-730CF8DB42CF}" dt="2018-03-07T17:53:07.294" v="109" actId="478"/>
          <ac:spMkLst>
            <pc:docMk/>
            <pc:sldMk cId="4111969449" sldId="1646"/>
            <ac:spMk id="34" creationId="{00000000-0000-0000-0000-000000000000}"/>
          </ac:spMkLst>
        </pc:spChg>
        <pc:spChg chg="del">
          <ac:chgData name="Michael Collier" userId="c2873510-4a44-4d85-aef3-d7e8e051fe69" providerId="ADAL" clId="{CB384C6B-A00D-433E-855E-730CF8DB42CF}" dt="2018-03-07T17:53:02.549" v="106" actId="478"/>
          <ac:spMkLst>
            <pc:docMk/>
            <pc:sldMk cId="4111969449" sldId="1646"/>
            <ac:spMk id="41" creationId="{00000000-0000-0000-0000-000000000000}"/>
          </ac:spMkLst>
        </pc:spChg>
      </pc:sldChg>
      <pc:sldChg chg="del">
        <pc:chgData name="Michael Collier" userId="c2873510-4a44-4d85-aef3-d7e8e051fe69" providerId="ADAL" clId="{CB384C6B-A00D-433E-855E-730CF8DB42CF}" dt="2018-03-09T03:47:57.042" v="4046" actId="2696"/>
        <pc:sldMkLst>
          <pc:docMk/>
          <pc:sldMk cId="1239209007" sldId="1647"/>
        </pc:sldMkLst>
      </pc:sldChg>
      <pc:sldChg chg="del modTransition">
        <pc:chgData name="Michael Collier" userId="c2873510-4a44-4d85-aef3-d7e8e051fe69" providerId="ADAL" clId="{CB384C6B-A00D-433E-855E-730CF8DB42CF}" dt="2018-03-09T02:40:48.517" v="3423" actId="2696"/>
        <pc:sldMkLst>
          <pc:docMk/>
          <pc:sldMk cId="3419432853" sldId="1652"/>
        </pc:sldMkLst>
      </pc:sldChg>
      <pc:sldChg chg="ord">
        <pc:chgData name="Michael Collier" userId="c2873510-4a44-4d85-aef3-d7e8e051fe69" providerId="ADAL" clId="{CB384C6B-A00D-433E-855E-730CF8DB42CF}" dt="2018-03-09T03:51:48.253" v="4065"/>
        <pc:sldMkLst>
          <pc:docMk/>
          <pc:sldMk cId="4160799212" sldId="1652"/>
        </pc:sldMkLst>
      </pc:sldChg>
      <pc:sldChg chg="addSp delSp modSp add del ord modTransition modNotesTx">
        <pc:chgData name="Michael Collier" userId="c2873510-4a44-4d85-aef3-d7e8e051fe69" providerId="ADAL" clId="{CB384C6B-A00D-433E-855E-730CF8DB42CF}" dt="2018-03-09T03:14:36.971" v="3876" actId="2696"/>
        <pc:sldMkLst>
          <pc:docMk/>
          <pc:sldMk cId="72915117" sldId="1654"/>
        </pc:sldMkLst>
        <pc:spChg chg="add del mod">
          <ac:chgData name="Michael Collier" userId="c2873510-4a44-4d85-aef3-d7e8e051fe69" providerId="ADAL" clId="{CB384C6B-A00D-433E-855E-730CF8DB42CF}" dt="2018-03-09T03:00:18.942" v="3647" actId="2696"/>
          <ac:spMkLst>
            <pc:docMk/>
            <pc:sldMk cId="72915117" sldId="1654"/>
            <ac:spMk id="2" creationId="{CDE045D2-CDA1-4A87-9DAE-1567DD8C0C32}"/>
          </ac:spMkLst>
        </pc:spChg>
        <pc:spChg chg="del">
          <ac:chgData name="Michael Collier" userId="c2873510-4a44-4d85-aef3-d7e8e051fe69" providerId="ADAL" clId="{CB384C6B-A00D-433E-855E-730CF8DB42CF}" dt="2018-03-07T18:05:32.173" v="294" actId="242"/>
          <ac:spMkLst>
            <pc:docMk/>
            <pc:sldMk cId="72915117" sldId="1654"/>
            <ac:spMk id="2" creationId="{9CCAC1DC-1801-47BB-9324-D39C7F755BC7}"/>
          </ac:spMkLst>
        </pc:spChg>
        <pc:spChg chg="del">
          <ac:chgData name="Michael Collier" userId="c2873510-4a44-4d85-aef3-d7e8e051fe69" providerId="ADAL" clId="{CB384C6B-A00D-433E-855E-730CF8DB42CF}" dt="2018-03-07T18:05:32.173" v="294" actId="242"/>
          <ac:spMkLst>
            <pc:docMk/>
            <pc:sldMk cId="72915117" sldId="1654"/>
            <ac:spMk id="3" creationId="{078F0977-ABF9-40F3-BB96-427E5CF4C533}"/>
          </ac:spMkLst>
        </pc:spChg>
        <pc:spChg chg="add mod">
          <ac:chgData name="Michael Collier" userId="c2873510-4a44-4d85-aef3-d7e8e051fe69" providerId="ADAL" clId="{CB384C6B-A00D-433E-855E-730CF8DB42CF}" dt="2018-03-07T18:05:46.049" v="342" actId="20577"/>
          <ac:spMkLst>
            <pc:docMk/>
            <pc:sldMk cId="72915117" sldId="1654"/>
            <ac:spMk id="4" creationId="{6EE811C1-0EAA-42EB-8560-838A5247B63D}"/>
          </ac:spMkLst>
        </pc:spChg>
        <pc:spChg chg="add mod">
          <ac:chgData name="Michael Collier" userId="c2873510-4a44-4d85-aef3-d7e8e051fe69" providerId="ADAL" clId="{CB384C6B-A00D-433E-855E-730CF8DB42CF}" dt="2018-03-09T03:00:47.725" v="3653" actId="404"/>
          <ac:spMkLst>
            <pc:docMk/>
            <pc:sldMk cId="72915117" sldId="1654"/>
            <ac:spMk id="5" creationId="{AE7EB03A-E88A-4BC8-BE1D-C58FD1F9A79D}"/>
          </ac:spMkLst>
        </pc:spChg>
        <pc:spChg chg="add del mod">
          <ac:chgData name="Michael Collier" userId="c2873510-4a44-4d85-aef3-d7e8e051fe69" providerId="ADAL" clId="{CB384C6B-A00D-433E-855E-730CF8DB42CF}" dt="2018-03-08T19:43:36.168" v="1886" actId="478"/>
          <ac:spMkLst>
            <pc:docMk/>
            <pc:sldMk cId="72915117" sldId="1654"/>
            <ac:spMk id="7" creationId="{0A19D4B7-7130-4335-8087-5E5257107E46}"/>
          </ac:spMkLst>
        </pc:spChg>
        <pc:spChg chg="mod">
          <ac:chgData name="Michael Collier" userId="c2873510-4a44-4d85-aef3-d7e8e051fe69" providerId="ADAL" clId="{CB384C6B-A00D-433E-855E-730CF8DB42CF}" dt="2018-03-08T19:43:54.961" v="1891" actId="404"/>
          <ac:spMkLst>
            <pc:docMk/>
            <pc:sldMk cId="72915117" sldId="1654"/>
            <ac:spMk id="14" creationId="{87CFF48E-7D67-4583-8907-6E267320CE60}"/>
          </ac:spMkLst>
        </pc:spChg>
        <pc:spChg chg="mod">
          <ac:chgData name="Michael Collier" userId="c2873510-4a44-4d85-aef3-d7e8e051fe69" providerId="ADAL" clId="{CB384C6B-A00D-433E-855E-730CF8DB42CF}" dt="2018-03-08T19:43:54.961" v="1891" actId="404"/>
          <ac:spMkLst>
            <pc:docMk/>
            <pc:sldMk cId="72915117" sldId="1654"/>
            <ac:spMk id="21" creationId="{50B45801-4CF9-4BF6-8171-5D279EE9A916}"/>
          </ac:spMkLst>
        </pc:spChg>
        <pc:spChg chg="mod">
          <ac:chgData name="Michael Collier" userId="c2873510-4a44-4d85-aef3-d7e8e051fe69" providerId="ADAL" clId="{CB384C6B-A00D-433E-855E-730CF8DB42CF}" dt="2018-03-08T19:43:54.961" v="1891" actId="404"/>
          <ac:spMkLst>
            <pc:docMk/>
            <pc:sldMk cId="72915117" sldId="1654"/>
            <ac:spMk id="22" creationId="{DAD653ED-812D-4556-A38A-52C9969788F4}"/>
          </ac:spMkLst>
        </pc:spChg>
        <pc:spChg chg="mod">
          <ac:chgData name="Michael Collier" userId="c2873510-4a44-4d85-aef3-d7e8e051fe69" providerId="ADAL" clId="{CB384C6B-A00D-433E-855E-730CF8DB42CF}" dt="2018-03-08T19:43:54.961" v="1891" actId="404"/>
          <ac:spMkLst>
            <pc:docMk/>
            <pc:sldMk cId="72915117" sldId="1654"/>
            <ac:spMk id="23" creationId="{962B691D-8BFC-4BB3-963D-FED291406340}"/>
          </ac:spMkLst>
        </pc:spChg>
        <pc:spChg chg="mod">
          <ac:chgData name="Michael Collier" userId="c2873510-4a44-4d85-aef3-d7e8e051fe69" providerId="ADAL" clId="{CB384C6B-A00D-433E-855E-730CF8DB42CF}" dt="2018-03-08T19:43:54.961" v="1891" actId="404"/>
          <ac:spMkLst>
            <pc:docMk/>
            <pc:sldMk cId="72915117" sldId="1654"/>
            <ac:spMk id="24" creationId="{6165AE32-60C9-4F5B-B845-1D3EC1E3BC86}"/>
          </ac:spMkLst>
        </pc:spChg>
        <pc:grpChg chg="add mod">
          <ac:chgData name="Michael Collier" userId="c2873510-4a44-4d85-aef3-d7e8e051fe69" providerId="ADAL" clId="{CB384C6B-A00D-433E-855E-730CF8DB42CF}" dt="2018-03-09T03:00:41.619" v="3652" actId="1076"/>
          <ac:grpSpMkLst>
            <pc:docMk/>
            <pc:sldMk cId="72915117" sldId="1654"/>
            <ac:grpSpMk id="8" creationId="{1B079D24-AF2B-4330-BBEB-EC07A6CB13EC}"/>
          </ac:grpSpMkLst>
        </pc:grpChg>
        <pc:graphicFrameChg chg="add mod modGraphic">
          <ac:chgData name="Michael Collier" userId="c2873510-4a44-4d85-aef3-d7e8e051fe69" providerId="ADAL" clId="{CB384C6B-A00D-433E-855E-730CF8DB42CF}" dt="2018-03-09T03:01:14.385" v="3655" actId="1076"/>
          <ac:graphicFrameMkLst>
            <pc:docMk/>
            <pc:sldMk cId="72915117" sldId="1654"/>
            <ac:graphicFrameMk id="6" creationId="{A9F8082F-32FD-4C6F-A7DC-0C02C083D3B8}"/>
          </ac:graphicFrameMkLst>
        </pc:graphicFrameChg>
      </pc:sldChg>
      <pc:sldChg chg="ord">
        <pc:chgData name="Michael Collier" userId="c2873510-4a44-4d85-aef3-d7e8e051fe69" providerId="ADAL" clId="{CB384C6B-A00D-433E-855E-730CF8DB42CF}" dt="2018-03-09T03:51:48.253" v="4065"/>
        <pc:sldMkLst>
          <pc:docMk/>
          <pc:sldMk cId="3064873485" sldId="1654"/>
        </pc:sldMkLst>
      </pc:sldChg>
      <pc:sldChg chg="addSp delSp modSp add delAnim modAnim modNotesTx">
        <pc:chgData name="Michael Collier" userId="c2873510-4a44-4d85-aef3-d7e8e051fe69" providerId="ADAL" clId="{CB384C6B-A00D-433E-855E-730CF8DB42CF}" dt="2018-03-09T02:59:13.879" v="3645" actId="20577"/>
        <pc:sldMkLst>
          <pc:docMk/>
          <pc:sldMk cId="4137199266" sldId="1655"/>
        </pc:sldMkLst>
        <pc:spChg chg="mod">
          <ac:chgData name="Michael Collier" userId="c2873510-4a44-4d85-aef3-d7e8e051fe69" providerId="ADAL" clId="{CB384C6B-A00D-433E-855E-730CF8DB42CF}" dt="2018-03-07T19:48:33.944" v="708" actId="14100"/>
          <ac:spMkLst>
            <pc:docMk/>
            <pc:sldMk cId="4137199266" sldId="1655"/>
            <ac:spMk id="8" creationId="{00000000-0000-0000-0000-000000000000}"/>
          </ac:spMkLst>
        </pc:spChg>
        <pc:spChg chg="mod ord">
          <ac:chgData name="Michael Collier" userId="c2873510-4a44-4d85-aef3-d7e8e051fe69" providerId="ADAL" clId="{CB384C6B-A00D-433E-855E-730CF8DB42CF}" dt="2018-03-07T18:17:43.694" v="406" actId="164"/>
          <ac:spMkLst>
            <pc:docMk/>
            <pc:sldMk cId="4137199266" sldId="1655"/>
            <ac:spMk id="9" creationId="{45A8DCC9-3A23-4890-8CE0-9BC9B8830CF3}"/>
          </ac:spMkLst>
        </pc:spChg>
        <pc:spChg chg="mod">
          <ac:chgData name="Michael Collier" userId="c2873510-4a44-4d85-aef3-d7e8e051fe69" providerId="ADAL" clId="{CB384C6B-A00D-433E-855E-730CF8DB42CF}" dt="2018-03-07T19:39:29.861" v="537" actId="1076"/>
          <ac:spMkLst>
            <pc:docMk/>
            <pc:sldMk cId="4137199266" sldId="1655"/>
            <ac:spMk id="11" creationId="{54C1F869-625B-441E-975A-A010025C208E}"/>
          </ac:spMkLst>
        </pc:spChg>
        <pc:spChg chg="mod">
          <ac:chgData name="Michael Collier" userId="c2873510-4a44-4d85-aef3-d7e8e051fe69" providerId="ADAL" clId="{CB384C6B-A00D-433E-855E-730CF8DB42CF}" dt="2018-03-07T19:43:58.463" v="609" actId="1076"/>
          <ac:spMkLst>
            <pc:docMk/>
            <pc:sldMk cId="4137199266" sldId="1655"/>
            <ac:spMk id="12" creationId="{5B0A3CF3-02E4-4784-AF6F-58086CAB2836}"/>
          </ac:spMkLst>
        </pc:spChg>
        <pc:spChg chg="mod">
          <ac:chgData name="Michael Collier" userId="c2873510-4a44-4d85-aef3-d7e8e051fe69" providerId="ADAL" clId="{CB384C6B-A00D-433E-855E-730CF8DB42CF}" dt="2018-03-07T19:40:54.918" v="561" actId="164"/>
          <ac:spMkLst>
            <pc:docMk/>
            <pc:sldMk cId="4137199266" sldId="1655"/>
            <ac:spMk id="19" creationId="{56ECED4C-7396-4CB9-AC3E-DB0A6B61D4CB}"/>
          </ac:spMkLst>
        </pc:spChg>
        <pc:spChg chg="mod">
          <ac:chgData name="Michael Collier" userId="c2873510-4a44-4d85-aef3-d7e8e051fe69" providerId="ADAL" clId="{CB384C6B-A00D-433E-855E-730CF8DB42CF}" dt="2018-03-07T19:40:54.918" v="561" actId="164"/>
          <ac:spMkLst>
            <pc:docMk/>
            <pc:sldMk cId="4137199266" sldId="1655"/>
            <ac:spMk id="34" creationId="{DCBADA3B-B6EA-4AD1-8FF3-6D2BF9C2B7C0}"/>
          </ac:spMkLst>
        </pc:spChg>
        <pc:spChg chg="mod">
          <ac:chgData name="Michael Collier" userId="c2873510-4a44-4d85-aef3-d7e8e051fe69" providerId="ADAL" clId="{CB384C6B-A00D-433E-855E-730CF8DB42CF}" dt="2018-03-07T18:29:04.513" v="494" actId="14100"/>
          <ac:spMkLst>
            <pc:docMk/>
            <pc:sldMk cId="4137199266" sldId="1655"/>
            <ac:spMk id="36" creationId="{A094B235-A880-49CB-9CDA-40FAFC4A689E}"/>
          </ac:spMkLst>
        </pc:spChg>
        <pc:spChg chg="mod">
          <ac:chgData name="Michael Collier" userId="c2873510-4a44-4d85-aef3-d7e8e051fe69" providerId="ADAL" clId="{CB384C6B-A00D-433E-855E-730CF8DB42CF}" dt="2018-03-07T18:29:16.773" v="496" actId="14100"/>
          <ac:spMkLst>
            <pc:docMk/>
            <pc:sldMk cId="4137199266" sldId="1655"/>
            <ac:spMk id="37" creationId="{2965F491-7FCB-4A44-A591-BD61EEA48FF0}"/>
          </ac:spMkLst>
        </pc:spChg>
        <pc:spChg chg="mod">
          <ac:chgData name="Michael Collier" userId="c2873510-4a44-4d85-aef3-d7e8e051fe69" providerId="ADAL" clId="{CB384C6B-A00D-433E-855E-730CF8DB42CF}" dt="2018-03-07T18:29:09.033" v="495" actId="14100"/>
          <ac:spMkLst>
            <pc:docMk/>
            <pc:sldMk cId="4137199266" sldId="1655"/>
            <ac:spMk id="38" creationId="{277E5654-8CE0-47A0-B538-4114ED9D94F2}"/>
          </ac:spMkLst>
        </pc:spChg>
        <pc:spChg chg="mod">
          <ac:chgData name="Michael Collier" userId="c2873510-4a44-4d85-aef3-d7e8e051fe69" providerId="ADAL" clId="{CB384C6B-A00D-433E-855E-730CF8DB42CF}" dt="2018-03-07T19:44:42.790" v="668" actId="1035"/>
          <ac:spMkLst>
            <pc:docMk/>
            <pc:sldMk cId="4137199266" sldId="1655"/>
            <ac:spMk id="55" creationId="{C5BDE801-A096-4BF6-AE80-8895EBD8E3AD}"/>
          </ac:spMkLst>
        </pc:spChg>
        <pc:spChg chg="mod">
          <ac:chgData name="Michael Collier" userId="c2873510-4a44-4d85-aef3-d7e8e051fe69" providerId="ADAL" clId="{CB384C6B-A00D-433E-855E-730CF8DB42CF}" dt="2018-03-07T19:44:42.790" v="668" actId="1035"/>
          <ac:spMkLst>
            <pc:docMk/>
            <pc:sldMk cId="4137199266" sldId="1655"/>
            <ac:spMk id="56" creationId="{7C6251DE-B802-437A-A474-8C35C7F13FAD}"/>
          </ac:spMkLst>
        </pc:spChg>
        <pc:spChg chg="add del mod">
          <ac:chgData name="Michael Collier" userId="c2873510-4a44-4d85-aef3-d7e8e051fe69" providerId="ADAL" clId="{CB384C6B-A00D-433E-855E-730CF8DB42CF}" dt="2018-03-07T18:20:30.603" v="436" actId="478"/>
          <ac:spMkLst>
            <pc:docMk/>
            <pc:sldMk cId="4137199266" sldId="1655"/>
            <ac:spMk id="79" creationId="{3F54F0A4-48E7-4FEB-8CD8-72ED9752CBB8}"/>
          </ac:spMkLst>
        </pc:spChg>
        <pc:spChg chg="add mod">
          <ac:chgData name="Michael Collier" userId="c2873510-4a44-4d85-aef3-d7e8e051fe69" providerId="ADAL" clId="{CB384C6B-A00D-433E-855E-730CF8DB42CF}" dt="2018-03-07T18:22:41.014" v="486" actId="207"/>
          <ac:spMkLst>
            <pc:docMk/>
            <pc:sldMk cId="4137199266" sldId="1655"/>
            <ac:spMk id="80" creationId="{E1AF487D-FC48-42C6-8120-CB7F72790D45}"/>
          </ac:spMkLst>
        </pc:spChg>
        <pc:spChg chg="add mod">
          <ac:chgData name="Michael Collier" userId="c2873510-4a44-4d85-aef3-d7e8e051fe69" providerId="ADAL" clId="{CB384C6B-A00D-433E-855E-730CF8DB42CF}" dt="2018-03-07T19:45:15.329" v="673" actId="1076"/>
          <ac:spMkLst>
            <pc:docMk/>
            <pc:sldMk cId="4137199266" sldId="1655"/>
            <ac:spMk id="81" creationId="{71797AC9-2C3A-44FB-81CB-D621291DCA6D}"/>
          </ac:spMkLst>
        </pc:spChg>
        <pc:spChg chg="add mod">
          <ac:chgData name="Michael Collier" userId="c2873510-4a44-4d85-aef3-d7e8e051fe69" providerId="ADAL" clId="{CB384C6B-A00D-433E-855E-730CF8DB42CF}" dt="2018-03-07T19:37:24.688" v="531" actId="14100"/>
          <ac:spMkLst>
            <pc:docMk/>
            <pc:sldMk cId="4137199266" sldId="1655"/>
            <ac:spMk id="100" creationId="{0DE6EE40-9F59-4E9A-BD9C-CC53AABE5F74}"/>
          </ac:spMkLst>
        </pc:spChg>
        <pc:spChg chg="add mod">
          <ac:chgData name="Michael Collier" userId="c2873510-4a44-4d85-aef3-d7e8e051fe69" providerId="ADAL" clId="{CB384C6B-A00D-433E-855E-730CF8DB42CF}" dt="2018-03-07T19:37:34.163" v="533" actId="1076"/>
          <ac:spMkLst>
            <pc:docMk/>
            <pc:sldMk cId="4137199266" sldId="1655"/>
            <ac:spMk id="101" creationId="{D4633712-EE56-4982-80BB-18838DC1F5FB}"/>
          </ac:spMkLst>
        </pc:spChg>
        <pc:spChg chg="add mod">
          <ac:chgData name="Michael Collier" userId="c2873510-4a44-4d85-aef3-d7e8e051fe69" providerId="ADAL" clId="{CB384C6B-A00D-433E-855E-730CF8DB42CF}" dt="2018-03-07T19:44:42.790" v="668" actId="1035"/>
          <ac:spMkLst>
            <pc:docMk/>
            <pc:sldMk cId="4137199266" sldId="1655"/>
            <ac:spMk id="102" creationId="{110CE61B-EA6E-49B8-87DC-8D0DAC9BEC31}"/>
          </ac:spMkLst>
        </pc:spChg>
        <pc:spChg chg="add mod">
          <ac:chgData name="Michael Collier" userId="c2873510-4a44-4d85-aef3-d7e8e051fe69" providerId="ADAL" clId="{CB384C6B-A00D-433E-855E-730CF8DB42CF}" dt="2018-03-07T19:40:44.006" v="559" actId="164"/>
          <ac:spMkLst>
            <pc:docMk/>
            <pc:sldMk cId="4137199266" sldId="1655"/>
            <ac:spMk id="104" creationId="{EC3B1274-5479-4EB8-8AA0-E890DB57706E}"/>
          </ac:spMkLst>
        </pc:spChg>
        <pc:spChg chg="add mod">
          <ac:chgData name="Michael Collier" userId="c2873510-4a44-4d85-aef3-d7e8e051fe69" providerId="ADAL" clId="{CB384C6B-A00D-433E-855E-730CF8DB42CF}" dt="2018-03-07T19:40:44.006" v="559" actId="164"/>
          <ac:spMkLst>
            <pc:docMk/>
            <pc:sldMk cId="4137199266" sldId="1655"/>
            <ac:spMk id="105" creationId="{6552BFDA-2A93-400E-B481-7688B3202607}"/>
          </ac:spMkLst>
        </pc:spChg>
        <pc:spChg chg="add mod">
          <ac:chgData name="Michael Collier" userId="c2873510-4a44-4d85-aef3-d7e8e051fe69" providerId="ADAL" clId="{CB384C6B-A00D-433E-855E-730CF8DB42CF}" dt="2018-03-07T19:41:16.789" v="564" actId="1076"/>
          <ac:spMkLst>
            <pc:docMk/>
            <pc:sldMk cId="4137199266" sldId="1655"/>
            <ac:spMk id="111" creationId="{EAD20988-9B84-497C-B896-B32ED9786C60}"/>
          </ac:spMkLst>
        </pc:spChg>
        <pc:spChg chg="add mod">
          <ac:chgData name="Michael Collier" userId="c2873510-4a44-4d85-aef3-d7e8e051fe69" providerId="ADAL" clId="{CB384C6B-A00D-433E-855E-730CF8DB42CF}" dt="2018-03-07T20:10:03.188" v="1258" actId="1076"/>
          <ac:spMkLst>
            <pc:docMk/>
            <pc:sldMk cId="4137199266" sldId="1655"/>
            <ac:spMk id="116" creationId="{F05CBF3A-7224-4098-9E27-FEAC713E49E3}"/>
          </ac:spMkLst>
        </pc:spChg>
        <pc:spChg chg="add mod">
          <ac:chgData name="Michael Collier" userId="c2873510-4a44-4d85-aef3-d7e8e051fe69" providerId="ADAL" clId="{CB384C6B-A00D-433E-855E-730CF8DB42CF}" dt="2018-03-07T20:10:11.451" v="1260" actId="1076"/>
          <ac:spMkLst>
            <pc:docMk/>
            <pc:sldMk cId="4137199266" sldId="1655"/>
            <ac:spMk id="117" creationId="{A1FCFBF7-7DC6-49DE-A4B8-FB3039084F65}"/>
          </ac:spMkLst>
        </pc:spChg>
        <pc:grpChg chg="add mod">
          <ac:chgData name="Michael Collier" userId="c2873510-4a44-4d85-aef3-d7e8e051fe69" providerId="ADAL" clId="{CB384C6B-A00D-433E-855E-730CF8DB42CF}" dt="2018-03-07T19:44:47.819" v="669" actId="1076"/>
          <ac:grpSpMkLst>
            <pc:docMk/>
            <pc:sldMk cId="4137199266" sldId="1655"/>
            <ac:grpSpMk id="3" creationId="{5EE20E4D-C863-4099-BF2C-56236F274949}"/>
          </ac:grpSpMkLst>
        </pc:grpChg>
        <pc:grpChg chg="del">
          <ac:chgData name="Michael Collier" userId="c2873510-4a44-4d85-aef3-d7e8e051fe69" providerId="ADAL" clId="{CB384C6B-A00D-433E-855E-730CF8DB42CF}" dt="2018-03-07T18:17:09.880" v="402" actId="478"/>
          <ac:grpSpMkLst>
            <pc:docMk/>
            <pc:sldMk cId="4137199266" sldId="1655"/>
            <ac:grpSpMk id="15" creationId="{62B23851-BB12-46CA-9560-AD7746E1BF08}"/>
          </ac:grpSpMkLst>
        </pc:grpChg>
        <pc:grpChg chg="mod">
          <ac:chgData name="Michael Collier" userId="c2873510-4a44-4d85-aef3-d7e8e051fe69" providerId="ADAL" clId="{CB384C6B-A00D-433E-855E-730CF8DB42CF}" dt="2018-03-07T19:44:42.790" v="668" actId="1035"/>
          <ac:grpSpMkLst>
            <pc:docMk/>
            <pc:sldMk cId="4137199266" sldId="1655"/>
            <ac:grpSpMk id="24" creationId="{D8924FCF-7C80-41A4-BFA5-3E939B8C1BD4}"/>
          </ac:grpSpMkLst>
        </pc:grpChg>
        <pc:grpChg chg="mod">
          <ac:chgData name="Michael Collier" userId="c2873510-4a44-4d85-aef3-d7e8e051fe69" providerId="ADAL" clId="{CB384C6B-A00D-433E-855E-730CF8DB42CF}" dt="2018-03-07T19:44:42.790" v="668" actId="1035"/>
          <ac:grpSpMkLst>
            <pc:docMk/>
            <pc:sldMk cId="4137199266" sldId="1655"/>
            <ac:grpSpMk id="35" creationId="{D3F8A445-13F3-4814-8EBB-13F1ADA216FF}"/>
          </ac:grpSpMkLst>
        </pc:grpChg>
        <pc:grpChg chg="mod">
          <ac:chgData name="Michael Collier" userId="c2873510-4a44-4d85-aef3-d7e8e051fe69" providerId="ADAL" clId="{CB384C6B-A00D-433E-855E-730CF8DB42CF}" dt="2018-03-07T19:44:42.790" v="668" actId="1035"/>
          <ac:grpSpMkLst>
            <pc:docMk/>
            <pc:sldMk cId="4137199266" sldId="1655"/>
            <ac:grpSpMk id="46" creationId="{886C1EE3-B67A-46EE-8A88-F34E0A3D1201}"/>
          </ac:grpSpMkLst>
        </pc:grpChg>
        <pc:grpChg chg="add mod">
          <ac:chgData name="Michael Collier" userId="c2873510-4a44-4d85-aef3-d7e8e051fe69" providerId="ADAL" clId="{CB384C6B-A00D-433E-855E-730CF8DB42CF}" dt="2018-03-07T19:40:46.982" v="560" actId="1076"/>
          <ac:grpSpMkLst>
            <pc:docMk/>
            <pc:sldMk cId="4137199266" sldId="1655"/>
            <ac:grpSpMk id="109" creationId="{2ED3A587-7A51-460A-A113-932763674297}"/>
          </ac:grpSpMkLst>
        </pc:grpChg>
        <pc:grpChg chg="add mod">
          <ac:chgData name="Michael Collier" userId="c2873510-4a44-4d85-aef3-d7e8e051fe69" providerId="ADAL" clId="{CB384C6B-A00D-433E-855E-730CF8DB42CF}" dt="2018-03-07T19:41:07.541" v="562" actId="1076"/>
          <ac:grpSpMkLst>
            <pc:docMk/>
            <pc:sldMk cId="4137199266" sldId="1655"/>
            <ac:grpSpMk id="110" creationId="{5D7761AD-DABD-4BC5-8169-421805B50625}"/>
          </ac:grpSpMkLst>
        </pc:grpChg>
        <pc:picChg chg="mod ord">
          <ac:chgData name="Michael Collier" userId="c2873510-4a44-4d85-aef3-d7e8e051fe69" providerId="ADAL" clId="{CB384C6B-A00D-433E-855E-730CF8DB42CF}" dt="2018-03-07T18:17:43.694" v="406" actId="164"/>
          <ac:picMkLst>
            <pc:docMk/>
            <pc:sldMk cId="4137199266" sldId="1655"/>
            <ac:picMk id="14" creationId="{9318A858-FE0A-4AAC-860F-D5F1C3EE6DFF}"/>
          </ac:picMkLst>
        </pc:picChg>
        <pc:picChg chg="mod">
          <ac:chgData name="Michael Collier" userId="c2873510-4a44-4d85-aef3-d7e8e051fe69" providerId="ADAL" clId="{CB384C6B-A00D-433E-855E-730CF8DB42CF}" dt="2018-03-07T19:40:54.918" v="561" actId="164"/>
          <ac:picMkLst>
            <pc:docMk/>
            <pc:sldMk cId="4137199266" sldId="1655"/>
            <ac:picMk id="45" creationId="{41CBA9BF-2B06-45D3-BD51-50F24BA5F97F}"/>
          </ac:picMkLst>
        </pc:picChg>
        <pc:picChg chg="mod">
          <ac:chgData name="Michael Collier" userId="c2873510-4a44-4d85-aef3-d7e8e051fe69" providerId="ADAL" clId="{CB384C6B-A00D-433E-855E-730CF8DB42CF}" dt="2018-03-07T19:44:42.790" v="668" actId="1035"/>
          <ac:picMkLst>
            <pc:docMk/>
            <pc:sldMk cId="4137199266" sldId="1655"/>
            <ac:picMk id="57" creationId="{6AB0A3A8-59B6-4AAA-8F51-0A776701027C}"/>
          </ac:picMkLst>
        </pc:picChg>
        <pc:picChg chg="add del mod">
          <ac:chgData name="Michael Collier" userId="c2873510-4a44-4d85-aef3-d7e8e051fe69" providerId="ADAL" clId="{CB384C6B-A00D-433E-855E-730CF8DB42CF}" dt="2018-03-07T19:40:18.003" v="556" actId="478"/>
          <ac:picMkLst>
            <pc:docMk/>
            <pc:sldMk cId="4137199266" sldId="1655"/>
            <ac:picMk id="106" creationId="{F2412B6B-4D77-401A-A609-D16F59A25211}"/>
          </ac:picMkLst>
        </pc:picChg>
        <pc:picChg chg="add mod">
          <ac:chgData name="Michael Collier" userId="c2873510-4a44-4d85-aef3-d7e8e051fe69" providerId="ADAL" clId="{CB384C6B-A00D-433E-855E-730CF8DB42CF}" dt="2018-03-07T19:40:44.006" v="559" actId="164"/>
          <ac:picMkLst>
            <pc:docMk/>
            <pc:sldMk cId="4137199266" sldId="1655"/>
            <ac:picMk id="108" creationId="{EFAABDCB-29B0-4D77-A3AF-753FA41B66DD}"/>
          </ac:picMkLst>
        </pc:picChg>
        <pc:cxnChg chg="add mod">
          <ac:chgData name="Michael Collier" userId="c2873510-4a44-4d85-aef3-d7e8e051fe69" providerId="ADAL" clId="{CB384C6B-A00D-433E-855E-730CF8DB42CF}" dt="2018-03-07T19:44:47.819" v="669" actId="1076"/>
          <ac:cxnSpMkLst>
            <pc:docMk/>
            <pc:sldMk cId="4137199266" sldId="1655"/>
            <ac:cxnSpMk id="18" creationId="{EBDCE580-143F-4F2C-BBFC-AA7ECA670205}"/>
          </ac:cxnSpMkLst>
        </pc:cxnChg>
        <pc:cxnChg chg="add mod">
          <ac:chgData name="Michael Collier" userId="c2873510-4a44-4d85-aef3-d7e8e051fe69" providerId="ADAL" clId="{CB384C6B-A00D-433E-855E-730CF8DB42CF}" dt="2018-03-07T19:44:47.819" v="669" actId="1076"/>
          <ac:cxnSpMkLst>
            <pc:docMk/>
            <pc:sldMk cId="4137199266" sldId="1655"/>
            <ac:cxnSpMk id="40" creationId="{2FA2BCC6-2F3F-4FFE-AD2F-2EF0650F93B3}"/>
          </ac:cxnSpMkLst>
        </pc:cxnChg>
        <pc:cxnChg chg="add mod">
          <ac:chgData name="Michael Collier" userId="c2873510-4a44-4d85-aef3-d7e8e051fe69" providerId="ADAL" clId="{CB384C6B-A00D-433E-855E-730CF8DB42CF}" dt="2018-03-07T19:44:47.819" v="669" actId="1076"/>
          <ac:cxnSpMkLst>
            <pc:docMk/>
            <pc:sldMk cId="4137199266" sldId="1655"/>
            <ac:cxnSpMk id="59" creationId="{786DE1E0-DCF5-4DE0-8048-E7C75F922AB3}"/>
          </ac:cxnSpMkLst>
        </pc:cxnChg>
        <pc:cxnChg chg="add mod">
          <ac:chgData name="Michael Collier" userId="c2873510-4a44-4d85-aef3-d7e8e051fe69" providerId="ADAL" clId="{CB384C6B-A00D-433E-855E-730CF8DB42CF}" dt="2018-03-07T19:44:47.819" v="669" actId="1076"/>
          <ac:cxnSpMkLst>
            <pc:docMk/>
            <pc:sldMk cId="4137199266" sldId="1655"/>
            <ac:cxnSpMk id="61" creationId="{880A936B-86E9-4769-BD2E-8D4413EF6CB6}"/>
          </ac:cxnSpMkLst>
        </pc:cxnChg>
        <pc:cxnChg chg="add mod">
          <ac:chgData name="Michael Collier" userId="c2873510-4a44-4d85-aef3-d7e8e051fe69" providerId="ADAL" clId="{CB384C6B-A00D-433E-855E-730CF8DB42CF}" dt="2018-03-07T19:44:47.819" v="669" actId="1076"/>
          <ac:cxnSpMkLst>
            <pc:docMk/>
            <pc:sldMk cId="4137199266" sldId="1655"/>
            <ac:cxnSpMk id="63" creationId="{F6D1E1E2-BE9E-4235-AE70-5D23B7C5AA0B}"/>
          </ac:cxnSpMkLst>
        </pc:cxnChg>
        <pc:cxnChg chg="add mod">
          <ac:chgData name="Michael Collier" userId="c2873510-4a44-4d85-aef3-d7e8e051fe69" providerId="ADAL" clId="{CB384C6B-A00D-433E-855E-730CF8DB42CF}" dt="2018-03-07T19:44:47.819" v="669" actId="1076"/>
          <ac:cxnSpMkLst>
            <pc:docMk/>
            <pc:sldMk cId="4137199266" sldId="1655"/>
            <ac:cxnSpMk id="65" creationId="{15E3581B-136F-4017-B18F-3B5378CD3DB4}"/>
          </ac:cxnSpMkLst>
        </pc:cxnChg>
        <pc:cxnChg chg="add mod">
          <ac:chgData name="Michael Collier" userId="c2873510-4a44-4d85-aef3-d7e8e051fe69" providerId="ADAL" clId="{CB384C6B-A00D-433E-855E-730CF8DB42CF}" dt="2018-03-07T20:10:40.331" v="1261" actId="14100"/>
          <ac:cxnSpMkLst>
            <pc:docMk/>
            <pc:sldMk cId="4137199266" sldId="1655"/>
            <ac:cxnSpMk id="67" creationId="{6F98AF19-0CE3-4F35-9923-4960111712B6}"/>
          </ac:cxnSpMkLst>
        </pc:cxnChg>
        <pc:cxnChg chg="add mod">
          <ac:chgData name="Michael Collier" userId="c2873510-4a44-4d85-aef3-d7e8e051fe69" providerId="ADAL" clId="{CB384C6B-A00D-433E-855E-730CF8DB42CF}" dt="2018-03-07T19:44:47.819" v="669" actId="1076"/>
          <ac:cxnSpMkLst>
            <pc:docMk/>
            <pc:sldMk cId="4137199266" sldId="1655"/>
            <ac:cxnSpMk id="69" creationId="{196A0E3A-E833-4A4C-B589-DC8A060193E0}"/>
          </ac:cxnSpMkLst>
        </pc:cxnChg>
        <pc:cxnChg chg="add mod">
          <ac:chgData name="Michael Collier" userId="c2873510-4a44-4d85-aef3-d7e8e051fe69" providerId="ADAL" clId="{CB384C6B-A00D-433E-855E-730CF8DB42CF}" dt="2018-03-07T19:44:47.819" v="669" actId="1076"/>
          <ac:cxnSpMkLst>
            <pc:docMk/>
            <pc:sldMk cId="4137199266" sldId="1655"/>
            <ac:cxnSpMk id="71" creationId="{C43E273C-97AC-4275-B4F0-9384575EBFA1}"/>
          </ac:cxnSpMkLst>
        </pc:cxnChg>
        <pc:cxnChg chg="add mod">
          <ac:chgData name="Michael Collier" userId="c2873510-4a44-4d85-aef3-d7e8e051fe69" providerId="ADAL" clId="{CB384C6B-A00D-433E-855E-730CF8DB42CF}" dt="2018-03-07T19:44:47.819" v="669" actId="1076"/>
          <ac:cxnSpMkLst>
            <pc:docMk/>
            <pc:sldMk cId="4137199266" sldId="1655"/>
            <ac:cxnSpMk id="73" creationId="{AEF32D6C-74EE-4CCB-9371-5978A78A239F}"/>
          </ac:cxnSpMkLst>
        </pc:cxnChg>
        <pc:cxnChg chg="add mod">
          <ac:chgData name="Michael Collier" userId="c2873510-4a44-4d85-aef3-d7e8e051fe69" providerId="ADAL" clId="{CB384C6B-A00D-433E-855E-730CF8DB42CF}" dt="2018-03-07T19:44:47.819" v="669" actId="1076"/>
          <ac:cxnSpMkLst>
            <pc:docMk/>
            <pc:sldMk cId="4137199266" sldId="1655"/>
            <ac:cxnSpMk id="75" creationId="{5C5DB5AF-7F12-424E-84D5-C9D281A9C22D}"/>
          </ac:cxnSpMkLst>
        </pc:cxnChg>
        <pc:cxnChg chg="add mod">
          <ac:chgData name="Michael Collier" userId="c2873510-4a44-4d85-aef3-d7e8e051fe69" providerId="ADAL" clId="{CB384C6B-A00D-433E-855E-730CF8DB42CF}" dt="2018-03-07T19:44:47.819" v="669" actId="1076"/>
          <ac:cxnSpMkLst>
            <pc:docMk/>
            <pc:sldMk cId="4137199266" sldId="1655"/>
            <ac:cxnSpMk id="77" creationId="{3F591F58-B951-4D6F-A6E6-CF23EA684D25}"/>
          </ac:cxnSpMkLst>
        </pc:cxnChg>
        <pc:cxnChg chg="add mod">
          <ac:chgData name="Michael Collier" userId="c2873510-4a44-4d85-aef3-d7e8e051fe69" providerId="ADAL" clId="{CB384C6B-A00D-433E-855E-730CF8DB42CF}" dt="2018-03-07T18:22:17.830" v="484" actId="208"/>
          <ac:cxnSpMkLst>
            <pc:docMk/>
            <pc:sldMk cId="4137199266" sldId="1655"/>
            <ac:cxnSpMk id="83" creationId="{156B2881-F75C-4D49-9BE2-FDA2C347A009}"/>
          </ac:cxnSpMkLst>
        </pc:cxnChg>
        <pc:cxnChg chg="add mod">
          <ac:chgData name="Michael Collier" userId="c2873510-4a44-4d85-aef3-d7e8e051fe69" providerId="ADAL" clId="{CB384C6B-A00D-433E-855E-730CF8DB42CF}" dt="2018-03-07T19:45:11.392" v="672" actId="1076"/>
          <ac:cxnSpMkLst>
            <pc:docMk/>
            <pc:sldMk cId="4137199266" sldId="1655"/>
            <ac:cxnSpMk id="85" creationId="{5A54E4C5-F63D-41F0-99B8-B8476C43EC74}"/>
          </ac:cxnSpMkLst>
        </pc:cxnChg>
        <pc:cxnChg chg="add mod">
          <ac:chgData name="Michael Collier" userId="c2873510-4a44-4d85-aef3-d7e8e051fe69" providerId="ADAL" clId="{CB384C6B-A00D-433E-855E-730CF8DB42CF}" dt="2018-03-07T19:44:47.819" v="669" actId="1076"/>
          <ac:cxnSpMkLst>
            <pc:docMk/>
            <pc:sldMk cId="4137199266" sldId="1655"/>
            <ac:cxnSpMk id="113" creationId="{BF9FADF8-A662-4917-A442-E7141D7995FB}"/>
          </ac:cxnSpMkLst>
        </pc:cxnChg>
      </pc:sldChg>
      <pc:sldChg chg="add del">
        <pc:chgData name="Michael Collier" userId="c2873510-4a44-4d85-aef3-d7e8e051fe69" providerId="ADAL" clId="{CB384C6B-A00D-433E-855E-730CF8DB42CF}" dt="2018-03-09T02:17:09.850" v="3172" actId="20577"/>
        <pc:sldMkLst>
          <pc:docMk/>
          <pc:sldMk cId="1261568499" sldId="1656"/>
        </pc:sldMkLst>
      </pc:sldChg>
      <pc:sldChg chg="addSp delSp modSp add del modTransition">
        <pc:chgData name="Michael Collier" userId="c2873510-4a44-4d85-aef3-d7e8e051fe69" providerId="ADAL" clId="{CB384C6B-A00D-433E-855E-730CF8DB42CF}" dt="2018-03-09T03:51:14.822" v="4064" actId="2696"/>
        <pc:sldMkLst>
          <pc:docMk/>
          <pc:sldMk cId="1855744937" sldId="1656"/>
        </pc:sldMkLst>
        <pc:spChg chg="add mod">
          <ac:chgData name="Michael Collier" userId="c2873510-4a44-4d85-aef3-d7e8e051fe69" providerId="ADAL" clId="{CB384C6B-A00D-433E-855E-730CF8DB42CF}" dt="2018-03-08T20:34:31.183" v="2618" actId="1076"/>
          <ac:spMkLst>
            <pc:docMk/>
            <pc:sldMk cId="1855744937" sldId="1656"/>
            <ac:spMk id="2" creationId="{1536AA03-E956-44A9-9889-4995418C5687}"/>
          </ac:spMkLst>
        </pc:spChg>
        <pc:spChg chg="del">
          <ac:chgData name="Michael Collier" userId="c2873510-4a44-4d85-aef3-d7e8e051fe69" providerId="ADAL" clId="{CB384C6B-A00D-433E-855E-730CF8DB42CF}" dt="2018-03-07T20:00:40.628" v="752" actId="20577"/>
          <ac:spMkLst>
            <pc:docMk/>
            <pc:sldMk cId="1855744937" sldId="1656"/>
            <ac:spMk id="2" creationId="{91583D59-65B6-4D38-88C4-1CDD9BB9F839}"/>
          </ac:spMkLst>
        </pc:spChg>
        <pc:spChg chg="del">
          <ac:chgData name="Michael Collier" userId="c2873510-4a44-4d85-aef3-d7e8e051fe69" providerId="ADAL" clId="{CB384C6B-A00D-433E-855E-730CF8DB42CF}" dt="2018-03-07T20:00:40.628" v="752" actId="20577"/>
          <ac:spMkLst>
            <pc:docMk/>
            <pc:sldMk cId="1855744937" sldId="1656"/>
            <ac:spMk id="3" creationId="{1325E2E3-1184-41C5-9E1C-6A06C285C80C}"/>
          </ac:spMkLst>
        </pc:spChg>
        <pc:spChg chg="add del mod">
          <ac:chgData name="Michael Collier" userId="c2873510-4a44-4d85-aef3-d7e8e051fe69" providerId="ADAL" clId="{CB384C6B-A00D-433E-855E-730CF8DB42CF}" dt="2018-03-08T20:33:49.739" v="2614" actId="478"/>
          <ac:spMkLst>
            <pc:docMk/>
            <pc:sldMk cId="1855744937" sldId="1656"/>
            <ac:spMk id="4" creationId="{42DE0A9A-2EC0-43CA-A521-4B9373FEDBCE}"/>
          </ac:spMkLst>
        </pc:spChg>
        <pc:spChg chg="add del mod">
          <ac:chgData name="Michael Collier" userId="c2873510-4a44-4d85-aef3-d7e8e051fe69" providerId="ADAL" clId="{CB384C6B-A00D-433E-855E-730CF8DB42CF}" dt="2018-03-08T20:34:09.740" v="2617" actId="12"/>
          <ac:spMkLst>
            <pc:docMk/>
            <pc:sldMk cId="1855744937" sldId="1656"/>
            <ac:spMk id="5" creationId="{A451B96F-B7DC-4066-9868-810A8308F18B}"/>
          </ac:spMkLst>
        </pc:spChg>
      </pc:sldChg>
      <pc:sldChg chg="delSp modSp add">
        <pc:chgData name="Michael Collier" userId="c2873510-4a44-4d85-aef3-d7e8e051fe69" providerId="ADAL" clId="{CB384C6B-A00D-433E-855E-730CF8DB42CF}" dt="2018-03-07T20:24:16.128" v="1423" actId="14100"/>
        <pc:sldMkLst>
          <pc:docMk/>
          <pc:sldMk cId="3726020181" sldId="1658"/>
        </pc:sldMkLst>
        <pc:spChg chg="del">
          <ac:chgData name="Michael Collier" userId="c2873510-4a44-4d85-aef3-d7e8e051fe69" providerId="ADAL" clId="{CB384C6B-A00D-433E-855E-730CF8DB42CF}" dt="2018-03-07T20:23:47.840" v="1416" actId="478"/>
          <ac:spMkLst>
            <pc:docMk/>
            <pc:sldMk cId="3726020181" sldId="1658"/>
            <ac:spMk id="8" creationId="{BA0B0077-99B4-4336-AE46-D91BFA4118B9}"/>
          </ac:spMkLst>
        </pc:spChg>
        <pc:spChg chg="del">
          <ac:chgData name="Michael Collier" userId="c2873510-4a44-4d85-aef3-d7e8e051fe69" providerId="ADAL" clId="{CB384C6B-A00D-433E-855E-730CF8DB42CF}" dt="2018-03-07T20:23:47.840" v="1416" actId="478"/>
          <ac:spMkLst>
            <pc:docMk/>
            <pc:sldMk cId="3726020181" sldId="1658"/>
            <ac:spMk id="10" creationId="{4997BDF7-4A6B-448F-8F18-2287B6B5F27A}"/>
          </ac:spMkLst>
        </pc:spChg>
        <pc:spChg chg="del">
          <ac:chgData name="Michael Collier" userId="c2873510-4a44-4d85-aef3-d7e8e051fe69" providerId="ADAL" clId="{CB384C6B-A00D-433E-855E-730CF8DB42CF}" dt="2018-03-07T20:23:47.840" v="1416" actId="478"/>
          <ac:spMkLst>
            <pc:docMk/>
            <pc:sldMk cId="3726020181" sldId="1658"/>
            <ac:spMk id="11" creationId="{7CBD2F54-B79D-4FD8-8316-4D5B55EF4F68}"/>
          </ac:spMkLst>
        </pc:spChg>
        <pc:spChg chg="mod">
          <ac:chgData name="Michael Collier" userId="c2873510-4a44-4d85-aef3-d7e8e051fe69" providerId="ADAL" clId="{CB384C6B-A00D-433E-855E-730CF8DB42CF}" dt="2018-03-07T20:24:16.128" v="1423" actId="14100"/>
          <ac:spMkLst>
            <pc:docMk/>
            <pc:sldMk cId="3726020181" sldId="1658"/>
            <ac:spMk id="22" creationId="{C7317A8D-A6C0-4A0D-85FD-016C9F91EA50}"/>
          </ac:spMkLst>
        </pc:spChg>
        <pc:spChg chg="mod">
          <ac:chgData name="Michael Collier" userId="c2873510-4a44-4d85-aef3-d7e8e051fe69" providerId="ADAL" clId="{CB384C6B-A00D-433E-855E-730CF8DB42CF}" dt="2018-03-07T20:24:16.128" v="1423" actId="14100"/>
          <ac:spMkLst>
            <pc:docMk/>
            <pc:sldMk cId="3726020181" sldId="1658"/>
            <ac:spMk id="23" creationId="{219079FA-D2A4-4C17-969D-B81F585DB34B}"/>
          </ac:spMkLst>
        </pc:spChg>
        <pc:spChg chg="mod">
          <ac:chgData name="Michael Collier" userId="c2873510-4a44-4d85-aef3-d7e8e051fe69" providerId="ADAL" clId="{CB384C6B-A00D-433E-855E-730CF8DB42CF}" dt="2018-03-07T20:24:16.128" v="1423" actId="14100"/>
          <ac:spMkLst>
            <pc:docMk/>
            <pc:sldMk cId="3726020181" sldId="1658"/>
            <ac:spMk id="24" creationId="{C8D5118A-05A3-4CA5-AC33-87042FD89015}"/>
          </ac:spMkLst>
        </pc:spChg>
        <pc:spChg chg="del">
          <ac:chgData name="Michael Collier" userId="c2873510-4a44-4d85-aef3-d7e8e051fe69" providerId="ADAL" clId="{CB384C6B-A00D-433E-855E-730CF8DB42CF}" dt="2018-03-07T20:23:51.373" v="1417" actId="478"/>
          <ac:spMkLst>
            <pc:docMk/>
            <pc:sldMk cId="3726020181" sldId="1658"/>
            <ac:spMk id="25" creationId="{15066D2F-CB03-4924-BEF2-308B4FF0014D}"/>
          </ac:spMkLst>
        </pc:spChg>
        <pc:spChg chg="del">
          <ac:chgData name="Michael Collier" userId="c2873510-4a44-4d85-aef3-d7e8e051fe69" providerId="ADAL" clId="{CB384C6B-A00D-433E-855E-730CF8DB42CF}" dt="2018-03-07T20:23:51.373" v="1417" actId="478"/>
          <ac:spMkLst>
            <pc:docMk/>
            <pc:sldMk cId="3726020181" sldId="1658"/>
            <ac:spMk id="26" creationId="{D554A679-31B7-4202-99D8-9B3B11E0C334}"/>
          </ac:spMkLst>
        </pc:spChg>
        <pc:spChg chg="del">
          <ac:chgData name="Michael Collier" userId="c2873510-4a44-4d85-aef3-d7e8e051fe69" providerId="ADAL" clId="{CB384C6B-A00D-433E-855E-730CF8DB42CF}" dt="2018-03-07T20:23:51.373" v="1417" actId="478"/>
          <ac:spMkLst>
            <pc:docMk/>
            <pc:sldMk cId="3726020181" sldId="1658"/>
            <ac:spMk id="27" creationId="{AD0819E6-7AF3-42A6-8550-40664449692B}"/>
          </ac:spMkLst>
        </pc:spChg>
      </pc:sldChg>
      <pc:sldChg chg="addSp delSp modSp add">
        <pc:chgData name="Michael Collier" userId="c2873510-4a44-4d85-aef3-d7e8e051fe69" providerId="ADAL" clId="{CB384C6B-A00D-433E-855E-730CF8DB42CF}" dt="2018-03-07T20:34:40.712" v="1450" actId="1076"/>
        <pc:sldMkLst>
          <pc:docMk/>
          <pc:sldMk cId="2209679291" sldId="1659"/>
        </pc:sldMkLst>
        <pc:picChg chg="add del mod">
          <ac:chgData name="Michael Collier" userId="c2873510-4a44-4d85-aef3-d7e8e051fe69" providerId="ADAL" clId="{CB384C6B-A00D-433E-855E-730CF8DB42CF}" dt="2018-03-07T20:34:06.532" v="1448" actId="478"/>
          <ac:picMkLst>
            <pc:docMk/>
            <pc:sldMk cId="2209679291" sldId="1659"/>
            <ac:picMk id="7" creationId="{1B6F24D7-3A01-470E-A235-624C6626BA14}"/>
          </ac:picMkLst>
        </pc:picChg>
        <pc:picChg chg="del">
          <ac:chgData name="Michael Collier" userId="c2873510-4a44-4d85-aef3-d7e8e051fe69" providerId="ADAL" clId="{CB384C6B-A00D-433E-855E-730CF8DB42CF}" dt="2018-03-07T20:33:49.732" v="1442" actId="478"/>
          <ac:picMkLst>
            <pc:docMk/>
            <pc:sldMk cId="2209679291" sldId="1659"/>
            <ac:picMk id="8" creationId="{0E1A9A5C-7D3F-45C9-99F8-2D3C1B7F8FFF}"/>
          </ac:picMkLst>
        </pc:picChg>
        <pc:picChg chg="del">
          <ac:chgData name="Michael Collier" userId="c2873510-4a44-4d85-aef3-d7e8e051fe69" providerId="ADAL" clId="{CB384C6B-A00D-433E-855E-730CF8DB42CF}" dt="2018-03-07T20:33:49.732" v="1442" actId="478"/>
          <ac:picMkLst>
            <pc:docMk/>
            <pc:sldMk cId="2209679291" sldId="1659"/>
            <ac:picMk id="9" creationId="{4D159CE7-2947-4BBD-88BD-385A47432048}"/>
          </ac:picMkLst>
        </pc:picChg>
        <pc:picChg chg="del">
          <ac:chgData name="Michael Collier" userId="c2873510-4a44-4d85-aef3-d7e8e051fe69" providerId="ADAL" clId="{CB384C6B-A00D-433E-855E-730CF8DB42CF}" dt="2018-03-07T20:33:49.732" v="1442" actId="478"/>
          <ac:picMkLst>
            <pc:docMk/>
            <pc:sldMk cId="2209679291" sldId="1659"/>
            <ac:picMk id="10" creationId="{94F4B4AD-13F0-4F41-BE1F-BCDFDD8A5056}"/>
          </ac:picMkLst>
        </pc:picChg>
        <pc:picChg chg="add mod">
          <ac:chgData name="Michael Collier" userId="c2873510-4a44-4d85-aef3-d7e8e051fe69" providerId="ADAL" clId="{CB384C6B-A00D-433E-855E-730CF8DB42CF}" dt="2018-03-07T20:34:40.712" v="1450" actId="1076"/>
          <ac:picMkLst>
            <pc:docMk/>
            <pc:sldMk cId="2209679291" sldId="1659"/>
            <ac:picMk id="11" creationId="{2DEEFFC7-368D-4C4E-9583-98A52266E6D5}"/>
          </ac:picMkLst>
        </pc:picChg>
      </pc:sldChg>
      <pc:sldChg chg="add modNotesTx">
        <pc:chgData name="Michael Collier" userId="c2873510-4a44-4d85-aef3-d7e8e051fe69" providerId="ADAL" clId="{CB384C6B-A00D-433E-855E-730CF8DB42CF}" dt="2018-03-09T03:39:19.134" v="3935" actId="20577"/>
        <pc:sldMkLst>
          <pc:docMk/>
          <pc:sldMk cId="3047511347" sldId="1660"/>
        </pc:sldMkLst>
      </pc:sldChg>
      <pc:sldChg chg="addSp modSp modAnim modNotesTx">
        <pc:chgData name="Michael Collier" userId="c2873510-4a44-4d85-aef3-d7e8e051fe69" providerId="ADAL" clId="{CB384C6B-A00D-433E-855E-730CF8DB42CF}" dt="2018-03-09T02:54:29.630" v="3641" actId="20577"/>
        <pc:sldMkLst>
          <pc:docMk/>
          <pc:sldMk cId="262099377" sldId="1661"/>
        </pc:sldMkLst>
        <pc:spChg chg="mod">
          <ac:chgData name="Michael Collier" userId="c2873510-4a44-4d85-aef3-d7e8e051fe69" providerId="ADAL" clId="{CB384C6B-A00D-433E-855E-730CF8DB42CF}" dt="2018-03-09T02:52:25.042" v="3589" actId="20577"/>
          <ac:spMkLst>
            <pc:docMk/>
            <pc:sldMk cId="262099377" sldId="1661"/>
            <ac:spMk id="4" creationId="{526AC09D-9147-4AF7-8778-6132B927E687}"/>
          </ac:spMkLst>
        </pc:spChg>
        <pc:spChg chg="add mod">
          <ac:chgData name="Michael Collier" userId="c2873510-4a44-4d85-aef3-d7e8e051fe69" providerId="ADAL" clId="{CB384C6B-A00D-433E-855E-730CF8DB42CF}" dt="2018-03-09T02:53:07.270" v="3593" actId="14100"/>
          <ac:spMkLst>
            <pc:docMk/>
            <pc:sldMk cId="262099377" sldId="1661"/>
            <ac:spMk id="5" creationId="{85507F2D-1F03-4D8F-9762-02864956E9E1}"/>
          </ac:spMkLst>
        </pc:spChg>
        <pc:spChg chg="add mod">
          <ac:chgData name="Michael Collier" userId="c2873510-4a44-4d85-aef3-d7e8e051fe69" providerId="ADAL" clId="{CB384C6B-A00D-433E-855E-730CF8DB42CF}" dt="2018-03-09T02:53:28.954" v="3634" actId="1076"/>
          <ac:spMkLst>
            <pc:docMk/>
            <pc:sldMk cId="262099377" sldId="1661"/>
            <ac:spMk id="6" creationId="{ABAC17D6-4F9D-43ED-B6EB-C913F22E3C6B}"/>
          </ac:spMkLst>
        </pc:spChg>
        <pc:spChg chg="add mod">
          <ac:chgData name="Michael Collier" userId="c2873510-4a44-4d85-aef3-d7e8e051fe69" providerId="ADAL" clId="{CB384C6B-A00D-433E-855E-730CF8DB42CF}" dt="2018-03-09T02:53:57.176" v="3640" actId="207"/>
          <ac:spMkLst>
            <pc:docMk/>
            <pc:sldMk cId="262099377" sldId="1661"/>
            <ac:spMk id="7" creationId="{7D4EE6D5-A52E-48D9-95AE-9B6A8607AD05}"/>
          </ac:spMkLst>
        </pc:spChg>
      </pc:sldChg>
      <pc:sldChg chg="addSp delSp modSp">
        <pc:chgData name="Michael Collier" userId="c2873510-4a44-4d85-aef3-d7e8e051fe69" providerId="ADAL" clId="{CB384C6B-A00D-433E-855E-730CF8DB42CF}" dt="2018-03-09T03:14:02.925" v="3874" actId="1076"/>
        <pc:sldMkLst>
          <pc:docMk/>
          <pc:sldMk cId="3043514267" sldId="1662"/>
        </pc:sldMkLst>
        <pc:spChg chg="mod">
          <ac:chgData name="Michael Collier" userId="c2873510-4a44-4d85-aef3-d7e8e051fe69" providerId="ADAL" clId="{CB384C6B-A00D-433E-855E-730CF8DB42CF}" dt="2018-03-09T03:07:45.998" v="3796" actId="1076"/>
          <ac:spMkLst>
            <pc:docMk/>
            <pc:sldMk cId="3043514267" sldId="1662"/>
            <ac:spMk id="3" creationId="{C90F2EC7-6F9E-41DA-810C-9C326531E820}"/>
          </ac:spMkLst>
        </pc:spChg>
        <pc:spChg chg="add mod">
          <ac:chgData name="Michael Collier" userId="c2873510-4a44-4d85-aef3-d7e8e051fe69" providerId="ADAL" clId="{CB384C6B-A00D-433E-855E-730CF8DB42CF}" dt="2018-03-09T03:11:38.872" v="3856" actId="164"/>
          <ac:spMkLst>
            <pc:docMk/>
            <pc:sldMk cId="3043514267" sldId="1662"/>
            <ac:spMk id="5" creationId="{E692B067-27BA-485C-BF24-A1479C4D2D0F}"/>
          </ac:spMkLst>
        </pc:spChg>
        <pc:spChg chg="add mod">
          <ac:chgData name="Michael Collier" userId="c2873510-4a44-4d85-aef3-d7e8e051fe69" providerId="ADAL" clId="{CB384C6B-A00D-433E-855E-730CF8DB42CF}" dt="2018-03-09T03:14:02.925" v="3874" actId="1076"/>
          <ac:spMkLst>
            <pc:docMk/>
            <pc:sldMk cId="3043514267" sldId="1662"/>
            <ac:spMk id="22" creationId="{BF913488-7C13-4076-8E00-A3F9FF9EFFE0}"/>
          </ac:spMkLst>
        </pc:spChg>
        <pc:spChg chg="add mod">
          <ac:chgData name="Michael Collier" userId="c2873510-4a44-4d85-aef3-d7e8e051fe69" providerId="ADAL" clId="{CB384C6B-A00D-433E-855E-730CF8DB42CF}" dt="2018-03-09T03:08:37.600" v="3840" actId="20577"/>
          <ac:spMkLst>
            <pc:docMk/>
            <pc:sldMk cId="3043514267" sldId="1662"/>
            <ac:spMk id="27" creationId="{32E7073C-F531-4677-B305-9E779B6CD80A}"/>
          </ac:spMkLst>
        </pc:spChg>
        <pc:spChg chg="add mod">
          <ac:chgData name="Michael Collier" userId="c2873510-4a44-4d85-aef3-d7e8e051fe69" providerId="ADAL" clId="{CB384C6B-A00D-433E-855E-730CF8DB42CF}" dt="2018-03-09T03:08:23.385" v="3814" actId="20577"/>
          <ac:spMkLst>
            <pc:docMk/>
            <pc:sldMk cId="3043514267" sldId="1662"/>
            <ac:spMk id="29" creationId="{C7293974-0A67-4541-ADA1-D6EFEDA36FF6}"/>
          </ac:spMkLst>
        </pc:spChg>
        <pc:spChg chg="mod">
          <ac:chgData name="Michael Collier" userId="c2873510-4a44-4d85-aef3-d7e8e051fe69" providerId="ADAL" clId="{CB384C6B-A00D-433E-855E-730CF8DB42CF}" dt="2018-03-09T03:05:03.813" v="3709" actId="1076"/>
          <ac:spMkLst>
            <pc:docMk/>
            <pc:sldMk cId="3043514267" sldId="1662"/>
            <ac:spMk id="44" creationId="{FB83EA8B-F513-45D3-9D7E-3ED03A62914C}"/>
          </ac:spMkLst>
        </pc:spChg>
        <pc:spChg chg="mod">
          <ac:chgData name="Michael Collier" userId="c2873510-4a44-4d85-aef3-d7e8e051fe69" providerId="ADAL" clId="{CB384C6B-A00D-433E-855E-730CF8DB42CF}" dt="2018-03-09T03:04:43.813" v="3708" actId="1076"/>
          <ac:spMkLst>
            <pc:docMk/>
            <pc:sldMk cId="3043514267" sldId="1662"/>
            <ac:spMk id="45" creationId="{B99F20DC-5C83-48AD-A39B-A9DDB8B10CCF}"/>
          </ac:spMkLst>
        </pc:spChg>
        <pc:spChg chg="mod">
          <ac:chgData name="Michael Collier" userId="c2873510-4a44-4d85-aef3-d7e8e051fe69" providerId="ADAL" clId="{CB384C6B-A00D-433E-855E-730CF8DB42CF}" dt="2018-03-09T03:07:51.893" v="3797" actId="1076"/>
          <ac:spMkLst>
            <pc:docMk/>
            <pc:sldMk cId="3043514267" sldId="1662"/>
            <ac:spMk id="53" creationId="{CC30763B-14AD-4573-B5BB-F899A6A0CD2C}"/>
          </ac:spMkLst>
        </pc:spChg>
        <pc:grpChg chg="add mod">
          <ac:chgData name="Michael Collier" userId="c2873510-4a44-4d85-aef3-d7e8e051fe69" providerId="ADAL" clId="{CB384C6B-A00D-433E-855E-730CF8DB42CF}" dt="2018-03-09T03:13:08.922" v="3862" actId="1076"/>
          <ac:grpSpMkLst>
            <pc:docMk/>
            <pc:sldMk cId="3043514267" sldId="1662"/>
            <ac:grpSpMk id="21" creationId="{157AA2C8-F2A8-433F-9225-B0DF5124318A}"/>
          </ac:grpSpMkLst>
        </pc:grpChg>
        <pc:picChg chg="mod">
          <ac:chgData name="Michael Collier" userId="c2873510-4a44-4d85-aef3-d7e8e051fe69" providerId="ADAL" clId="{CB384C6B-A00D-433E-855E-730CF8DB42CF}" dt="2018-03-09T03:04:43.813" v="3708" actId="1076"/>
          <ac:picMkLst>
            <pc:docMk/>
            <pc:sldMk cId="3043514267" sldId="1662"/>
            <ac:picMk id="7" creationId="{6C9AF421-0E93-4E51-9F48-FB1ABF74855F}"/>
          </ac:picMkLst>
        </pc:picChg>
        <pc:picChg chg="mod">
          <ac:chgData name="Michael Collier" userId="c2873510-4a44-4d85-aef3-d7e8e051fe69" providerId="ADAL" clId="{CB384C6B-A00D-433E-855E-730CF8DB42CF}" dt="2018-03-09T03:05:03.813" v="3709" actId="1076"/>
          <ac:picMkLst>
            <pc:docMk/>
            <pc:sldMk cId="3043514267" sldId="1662"/>
            <ac:picMk id="9" creationId="{062A829D-0DC3-4FDA-8BC6-924C5DA85586}"/>
          </ac:picMkLst>
        </pc:picChg>
        <pc:picChg chg="add mod">
          <ac:chgData name="Michael Collier" userId="c2873510-4a44-4d85-aef3-d7e8e051fe69" providerId="ADAL" clId="{CB384C6B-A00D-433E-855E-730CF8DB42CF}" dt="2018-03-09T03:07:00.420" v="3786" actId="1076"/>
          <ac:picMkLst>
            <pc:docMk/>
            <pc:sldMk cId="3043514267" sldId="1662"/>
            <ac:picMk id="28" creationId="{4BB4CCED-AF42-4262-94AD-22FD27DADB2B}"/>
          </ac:picMkLst>
        </pc:picChg>
        <pc:picChg chg="mod">
          <ac:chgData name="Michael Collier" userId="c2873510-4a44-4d85-aef3-d7e8e051fe69" providerId="ADAL" clId="{CB384C6B-A00D-433E-855E-730CF8DB42CF}" dt="2018-03-09T03:04:43.813" v="3708" actId="1076"/>
          <ac:picMkLst>
            <pc:docMk/>
            <pc:sldMk cId="3043514267" sldId="1662"/>
            <ac:picMk id="65" creationId="{B173E468-3B3F-4F5C-838B-9227E959706A}"/>
          </ac:picMkLst>
        </pc:picChg>
        <pc:picChg chg="mod">
          <ac:chgData name="Michael Collier" userId="c2873510-4a44-4d85-aef3-d7e8e051fe69" providerId="ADAL" clId="{CB384C6B-A00D-433E-855E-730CF8DB42CF}" dt="2018-03-09T03:05:03.813" v="3709" actId="1076"/>
          <ac:picMkLst>
            <pc:docMk/>
            <pc:sldMk cId="3043514267" sldId="1662"/>
            <ac:picMk id="69" creationId="{782715FF-3514-481D-A60F-11F8E18E8639}"/>
          </ac:picMkLst>
        </pc:picChg>
        <pc:cxnChg chg="add del mod">
          <ac:chgData name="Michael Collier" userId="c2873510-4a44-4d85-aef3-d7e8e051fe69" providerId="ADAL" clId="{CB384C6B-A00D-433E-855E-730CF8DB42CF}" dt="2018-03-09T03:09:55.397" v="3845" actId="478"/>
          <ac:cxnSpMkLst>
            <pc:docMk/>
            <pc:sldMk cId="3043514267" sldId="1662"/>
            <ac:cxnSpMk id="10" creationId="{E8C6C396-EE31-415A-AAE6-C4CCE66A3BE3}"/>
          </ac:cxnSpMkLst>
        </pc:cxnChg>
        <pc:cxnChg chg="add del mod">
          <ac:chgData name="Michael Collier" userId="c2873510-4a44-4d85-aef3-d7e8e051fe69" providerId="ADAL" clId="{CB384C6B-A00D-433E-855E-730CF8DB42CF}" dt="2018-03-09T03:09:55.397" v="3845" actId="478"/>
          <ac:cxnSpMkLst>
            <pc:docMk/>
            <pc:sldMk cId="3043514267" sldId="1662"/>
            <ac:cxnSpMk id="13" creationId="{E0F84192-6897-4DA4-8DCA-342978A66DC7}"/>
          </ac:cxnSpMkLst>
        </pc:cxnChg>
        <pc:cxnChg chg="add mod">
          <ac:chgData name="Michael Collier" userId="c2873510-4a44-4d85-aef3-d7e8e051fe69" providerId="ADAL" clId="{CB384C6B-A00D-433E-855E-730CF8DB42CF}" dt="2018-03-09T03:12:36.578" v="3861" actId="1076"/>
          <ac:cxnSpMkLst>
            <pc:docMk/>
            <pc:sldMk cId="3043514267" sldId="1662"/>
            <ac:cxnSpMk id="16" creationId="{DBFF419A-CEB9-4F73-9CDF-4C42F57D762A}"/>
          </ac:cxnSpMkLst>
        </pc:cxnChg>
        <pc:cxnChg chg="add mod">
          <ac:chgData name="Michael Collier" userId="c2873510-4a44-4d85-aef3-d7e8e051fe69" providerId="ADAL" clId="{CB384C6B-A00D-433E-855E-730CF8DB42CF}" dt="2018-03-09T03:12:36.578" v="3861" actId="1076"/>
          <ac:cxnSpMkLst>
            <pc:docMk/>
            <pc:sldMk cId="3043514267" sldId="1662"/>
            <ac:cxnSpMk id="18" creationId="{9AE02235-E687-46D6-A587-F16DC06D367A}"/>
          </ac:cxnSpMkLst>
        </pc:cxnChg>
      </pc:sldChg>
      <pc:sldChg chg="addSp delSp modSp modAnim modNotesTx">
        <pc:chgData name="Michael Collier" userId="c2873510-4a44-4d85-aef3-d7e8e051fe69" providerId="ADAL" clId="{CB384C6B-A00D-433E-855E-730CF8DB42CF}" dt="2018-03-09T03:20:24.758" v="3882" actId="208"/>
        <pc:sldMkLst>
          <pc:docMk/>
          <pc:sldMk cId="2800481030" sldId="1663"/>
        </pc:sldMkLst>
        <pc:spChg chg="add mod topLvl">
          <ac:chgData name="Michael Collier" userId="c2873510-4a44-4d85-aef3-d7e8e051fe69" providerId="ADAL" clId="{CB384C6B-A00D-433E-855E-730CF8DB42CF}" dt="2018-03-09T03:20:24.758" v="3882" actId="208"/>
          <ac:spMkLst>
            <pc:docMk/>
            <pc:sldMk cId="2800481030" sldId="1663"/>
            <ac:spMk id="2" creationId="{8B2EAE1E-91C7-4D77-8232-2AB1B5A47C60}"/>
          </ac:spMkLst>
        </pc:spChg>
        <pc:spChg chg="mod">
          <ac:chgData name="Michael Collier" userId="c2873510-4a44-4d85-aef3-d7e8e051fe69" providerId="ADAL" clId="{CB384C6B-A00D-433E-855E-730CF8DB42CF}" dt="2018-03-08T20:57:10.412" v="3049" actId="20577"/>
          <ac:spMkLst>
            <pc:docMk/>
            <pc:sldMk cId="2800481030" sldId="1663"/>
            <ac:spMk id="8" creationId="{00000000-0000-0000-0000-000000000000}"/>
          </ac:spMkLst>
        </pc:spChg>
        <pc:spChg chg="add del">
          <ac:chgData name="Michael Collier" userId="c2873510-4a44-4d85-aef3-d7e8e051fe69" providerId="ADAL" clId="{CB384C6B-A00D-433E-855E-730CF8DB42CF}" dt="2018-03-08T20:52:37.535" v="2767" actId="208"/>
          <ac:spMkLst>
            <pc:docMk/>
            <pc:sldMk cId="2800481030" sldId="1663"/>
            <ac:spMk id="26" creationId="{4225AFA2-1EA7-4609-BF5F-58FB337A4F5B}"/>
          </ac:spMkLst>
        </pc:spChg>
        <pc:spChg chg="add del">
          <ac:chgData name="Michael Collier" userId="c2873510-4a44-4d85-aef3-d7e8e051fe69" providerId="ADAL" clId="{CB384C6B-A00D-433E-855E-730CF8DB42CF}" dt="2018-03-08T20:52:37.535" v="2767" actId="208"/>
          <ac:spMkLst>
            <pc:docMk/>
            <pc:sldMk cId="2800481030" sldId="1663"/>
            <ac:spMk id="27" creationId="{3E840D0C-B2F4-4FAE-B36B-AFAD97C3BC70}"/>
          </ac:spMkLst>
        </pc:spChg>
        <pc:spChg chg="add del">
          <ac:chgData name="Michael Collier" userId="c2873510-4a44-4d85-aef3-d7e8e051fe69" providerId="ADAL" clId="{CB384C6B-A00D-433E-855E-730CF8DB42CF}" dt="2018-03-08T20:52:37.535" v="2767" actId="208"/>
          <ac:spMkLst>
            <pc:docMk/>
            <pc:sldMk cId="2800481030" sldId="1663"/>
            <ac:spMk id="63" creationId="{4DA0EDB5-93E6-4C87-B345-00315B5197DE}"/>
          </ac:spMkLst>
        </pc:spChg>
        <pc:spChg chg="add del">
          <ac:chgData name="Michael Collier" userId="c2873510-4a44-4d85-aef3-d7e8e051fe69" providerId="ADAL" clId="{CB384C6B-A00D-433E-855E-730CF8DB42CF}" dt="2018-03-08T20:52:37.535" v="2767" actId="208"/>
          <ac:spMkLst>
            <pc:docMk/>
            <pc:sldMk cId="2800481030" sldId="1663"/>
            <ac:spMk id="65" creationId="{9DB7BA19-2C75-4611-A043-FC3FEAFEFFE9}"/>
          </ac:spMkLst>
        </pc:spChg>
        <pc:spChg chg="add del">
          <ac:chgData name="Michael Collier" userId="c2873510-4a44-4d85-aef3-d7e8e051fe69" providerId="ADAL" clId="{CB384C6B-A00D-433E-855E-730CF8DB42CF}" dt="2018-03-08T20:52:37.535" v="2767" actId="208"/>
          <ac:spMkLst>
            <pc:docMk/>
            <pc:sldMk cId="2800481030" sldId="1663"/>
            <ac:spMk id="66" creationId="{BD43034E-EC32-41F7-B715-98615CDF4390}"/>
          </ac:spMkLst>
        </pc:spChg>
        <pc:spChg chg="add del">
          <ac:chgData name="Michael Collier" userId="c2873510-4a44-4d85-aef3-d7e8e051fe69" providerId="ADAL" clId="{CB384C6B-A00D-433E-855E-730CF8DB42CF}" dt="2018-03-08T20:52:37.535" v="2767" actId="208"/>
          <ac:spMkLst>
            <pc:docMk/>
            <pc:sldMk cId="2800481030" sldId="1663"/>
            <ac:spMk id="68" creationId="{94D6E16F-4380-419E-A5A3-A2963A51BFBA}"/>
          </ac:spMkLst>
        </pc:spChg>
        <pc:spChg chg="add del">
          <ac:chgData name="Michael Collier" userId="c2873510-4a44-4d85-aef3-d7e8e051fe69" providerId="ADAL" clId="{CB384C6B-A00D-433E-855E-730CF8DB42CF}" dt="2018-03-08T20:52:37.535" v="2767" actId="208"/>
          <ac:spMkLst>
            <pc:docMk/>
            <pc:sldMk cId="2800481030" sldId="1663"/>
            <ac:spMk id="69" creationId="{11FDF149-A7C4-49E7-B2C4-130C5D5E421B}"/>
          </ac:spMkLst>
        </pc:spChg>
        <pc:spChg chg="add del">
          <ac:chgData name="Michael Collier" userId="c2873510-4a44-4d85-aef3-d7e8e051fe69" providerId="ADAL" clId="{CB384C6B-A00D-433E-855E-730CF8DB42CF}" dt="2018-03-08T20:52:37.535" v="2767" actId="208"/>
          <ac:spMkLst>
            <pc:docMk/>
            <pc:sldMk cId="2800481030" sldId="1663"/>
            <ac:spMk id="70" creationId="{B15C58E1-5DE6-4687-B3E4-2EB2C9AA2D27}"/>
          </ac:spMkLst>
        </pc:spChg>
        <pc:spChg chg="add del">
          <ac:chgData name="Michael Collier" userId="c2873510-4a44-4d85-aef3-d7e8e051fe69" providerId="ADAL" clId="{CB384C6B-A00D-433E-855E-730CF8DB42CF}" dt="2018-03-08T20:52:37.535" v="2767" actId="208"/>
          <ac:spMkLst>
            <pc:docMk/>
            <pc:sldMk cId="2800481030" sldId="1663"/>
            <ac:spMk id="71" creationId="{B8679A3C-8567-491F-8F33-0F0ED20FB0FE}"/>
          </ac:spMkLst>
        </pc:spChg>
        <pc:spChg chg="add del">
          <ac:chgData name="Michael Collier" userId="c2873510-4a44-4d85-aef3-d7e8e051fe69" providerId="ADAL" clId="{CB384C6B-A00D-433E-855E-730CF8DB42CF}" dt="2018-03-08T20:52:37.535" v="2767" actId="208"/>
          <ac:spMkLst>
            <pc:docMk/>
            <pc:sldMk cId="2800481030" sldId="1663"/>
            <ac:spMk id="72" creationId="{09EECE79-86BA-49C6-9003-8BFE3B8D5B62}"/>
          </ac:spMkLst>
        </pc:spChg>
        <pc:spChg chg="add del">
          <ac:chgData name="Michael Collier" userId="c2873510-4a44-4d85-aef3-d7e8e051fe69" providerId="ADAL" clId="{CB384C6B-A00D-433E-855E-730CF8DB42CF}" dt="2018-03-08T20:52:45.314" v="2769" actId="208"/>
          <ac:spMkLst>
            <pc:docMk/>
            <pc:sldMk cId="2800481030" sldId="1663"/>
            <ac:spMk id="91" creationId="{C7D94583-FDBC-4B33-9708-3D24B1448AB7}"/>
          </ac:spMkLst>
        </pc:spChg>
        <pc:spChg chg="mod">
          <ac:chgData name="Michael Collier" userId="c2873510-4a44-4d85-aef3-d7e8e051fe69" providerId="ADAL" clId="{CB384C6B-A00D-433E-855E-730CF8DB42CF}" dt="2018-03-08T20:54:16.014" v="2787" actId="255"/>
          <ac:spMkLst>
            <pc:docMk/>
            <pc:sldMk cId="2800481030" sldId="1663"/>
            <ac:spMk id="94" creationId="{D456B576-B45A-49CC-AEC1-691AF69CFE4C}"/>
          </ac:spMkLst>
        </pc:spChg>
        <pc:spChg chg="mod">
          <ac:chgData name="Michael Collier" userId="c2873510-4a44-4d85-aef3-d7e8e051fe69" providerId="ADAL" clId="{CB384C6B-A00D-433E-855E-730CF8DB42CF}" dt="2018-03-08T20:54:16.014" v="2787" actId="255"/>
          <ac:spMkLst>
            <pc:docMk/>
            <pc:sldMk cId="2800481030" sldId="1663"/>
            <ac:spMk id="96" creationId="{E99F5A4E-46D6-49EC-93C9-8B7DB53A0BBD}"/>
          </ac:spMkLst>
        </pc:spChg>
        <pc:spChg chg="mod">
          <ac:chgData name="Michael Collier" userId="c2873510-4a44-4d85-aef3-d7e8e051fe69" providerId="ADAL" clId="{CB384C6B-A00D-433E-855E-730CF8DB42CF}" dt="2018-03-08T20:54:16.014" v="2787" actId="255"/>
          <ac:spMkLst>
            <pc:docMk/>
            <pc:sldMk cId="2800481030" sldId="1663"/>
            <ac:spMk id="98" creationId="{53BDE090-0C44-4D7D-9776-D8FBCC3E071F}"/>
          </ac:spMkLst>
        </pc:spChg>
        <pc:spChg chg="mod">
          <ac:chgData name="Michael Collier" userId="c2873510-4a44-4d85-aef3-d7e8e051fe69" providerId="ADAL" clId="{CB384C6B-A00D-433E-855E-730CF8DB42CF}" dt="2018-03-08T20:54:16.014" v="2787" actId="255"/>
          <ac:spMkLst>
            <pc:docMk/>
            <pc:sldMk cId="2800481030" sldId="1663"/>
            <ac:spMk id="100" creationId="{43562D0A-7FAE-4729-B26C-3AEB1978496F}"/>
          </ac:spMkLst>
        </pc:spChg>
        <pc:spChg chg="mod">
          <ac:chgData name="Michael Collier" userId="c2873510-4a44-4d85-aef3-d7e8e051fe69" providerId="ADAL" clId="{CB384C6B-A00D-433E-855E-730CF8DB42CF}" dt="2018-03-08T20:54:16.014" v="2787" actId="255"/>
          <ac:spMkLst>
            <pc:docMk/>
            <pc:sldMk cId="2800481030" sldId="1663"/>
            <ac:spMk id="101" creationId="{3C3A7D97-A340-4D35-BEE4-7CF7AEFD2E12}"/>
          </ac:spMkLst>
        </pc:spChg>
        <pc:spChg chg="mod">
          <ac:chgData name="Michael Collier" userId="c2873510-4a44-4d85-aef3-d7e8e051fe69" providerId="ADAL" clId="{CB384C6B-A00D-433E-855E-730CF8DB42CF}" dt="2018-03-08T20:54:16.014" v="2787" actId="255"/>
          <ac:spMkLst>
            <pc:docMk/>
            <pc:sldMk cId="2800481030" sldId="1663"/>
            <ac:spMk id="102" creationId="{0948B6ED-23C5-4669-9D64-75F22E9070CE}"/>
          </ac:spMkLst>
        </pc:spChg>
        <pc:spChg chg="mod">
          <ac:chgData name="Michael Collier" userId="c2873510-4a44-4d85-aef3-d7e8e051fe69" providerId="ADAL" clId="{CB384C6B-A00D-433E-855E-730CF8DB42CF}" dt="2018-03-08T20:54:16.014" v="2787" actId="255"/>
          <ac:spMkLst>
            <pc:docMk/>
            <pc:sldMk cId="2800481030" sldId="1663"/>
            <ac:spMk id="103" creationId="{2337B305-18DB-4CD6-B143-26A99D5E4E59}"/>
          </ac:spMkLst>
        </pc:spChg>
        <pc:spChg chg="mod">
          <ac:chgData name="Michael Collier" userId="c2873510-4a44-4d85-aef3-d7e8e051fe69" providerId="ADAL" clId="{CB384C6B-A00D-433E-855E-730CF8DB42CF}" dt="2018-03-08T20:54:16.014" v="2787" actId="255"/>
          <ac:spMkLst>
            <pc:docMk/>
            <pc:sldMk cId="2800481030" sldId="1663"/>
            <ac:spMk id="104" creationId="{C85467E5-18DD-452F-97C3-121D1A4E0B0F}"/>
          </ac:spMkLst>
        </pc:spChg>
        <pc:spChg chg="mod">
          <ac:chgData name="Michael Collier" userId="c2873510-4a44-4d85-aef3-d7e8e051fe69" providerId="ADAL" clId="{CB384C6B-A00D-433E-855E-730CF8DB42CF}" dt="2018-03-08T20:54:16.014" v="2787" actId="255"/>
          <ac:spMkLst>
            <pc:docMk/>
            <pc:sldMk cId="2800481030" sldId="1663"/>
            <ac:spMk id="105" creationId="{37B90A10-A830-46C7-8808-70192BA1B3FD}"/>
          </ac:spMkLst>
        </pc:spChg>
        <pc:spChg chg="mod">
          <ac:chgData name="Michael Collier" userId="c2873510-4a44-4d85-aef3-d7e8e051fe69" providerId="ADAL" clId="{CB384C6B-A00D-433E-855E-730CF8DB42CF}" dt="2018-03-08T20:54:16.014" v="2787" actId="255"/>
          <ac:spMkLst>
            <pc:docMk/>
            <pc:sldMk cId="2800481030" sldId="1663"/>
            <ac:spMk id="106" creationId="{EE2D1714-63B2-4472-B994-0B53DBB66638}"/>
          </ac:spMkLst>
        </pc:spChg>
        <pc:spChg chg="mod">
          <ac:chgData name="Michael Collier" userId="c2873510-4a44-4d85-aef3-d7e8e051fe69" providerId="ADAL" clId="{CB384C6B-A00D-433E-855E-730CF8DB42CF}" dt="2018-03-08T20:54:16.014" v="2787" actId="255"/>
          <ac:spMkLst>
            <pc:docMk/>
            <pc:sldMk cId="2800481030" sldId="1663"/>
            <ac:spMk id="107" creationId="{403C09BC-AFD2-450F-B27E-40EB85561C92}"/>
          </ac:spMkLst>
        </pc:spChg>
        <pc:spChg chg="mod">
          <ac:chgData name="Michael Collier" userId="c2873510-4a44-4d85-aef3-d7e8e051fe69" providerId="ADAL" clId="{CB384C6B-A00D-433E-855E-730CF8DB42CF}" dt="2018-03-08T20:54:16.014" v="2787" actId="255"/>
          <ac:spMkLst>
            <pc:docMk/>
            <pc:sldMk cId="2800481030" sldId="1663"/>
            <ac:spMk id="108" creationId="{253344A6-03B8-4EAF-BA1F-9D833B338BD9}"/>
          </ac:spMkLst>
        </pc:spChg>
        <pc:spChg chg="mod">
          <ac:chgData name="Michael Collier" userId="c2873510-4a44-4d85-aef3-d7e8e051fe69" providerId="ADAL" clId="{CB384C6B-A00D-433E-855E-730CF8DB42CF}" dt="2018-03-08T20:54:16.014" v="2787" actId="255"/>
          <ac:spMkLst>
            <pc:docMk/>
            <pc:sldMk cId="2800481030" sldId="1663"/>
            <ac:spMk id="109" creationId="{49F47FAE-A2C6-46D8-BA81-EDBCB8FA41BC}"/>
          </ac:spMkLst>
        </pc:spChg>
        <pc:spChg chg="add del mod">
          <ac:chgData name="Michael Collier" userId="c2873510-4a44-4d85-aef3-d7e8e051fe69" providerId="ADAL" clId="{CB384C6B-A00D-433E-855E-730CF8DB42CF}" dt="2018-03-08T20:52:53" v="2772" actId="478"/>
          <ac:spMkLst>
            <pc:docMk/>
            <pc:sldMk cId="2800481030" sldId="1663"/>
            <ac:spMk id="110" creationId="{06090F72-7333-42A4-ABF2-67DF143D471C}"/>
          </ac:spMkLst>
        </pc:spChg>
        <pc:spChg chg="mod">
          <ac:chgData name="Michael Collier" userId="c2873510-4a44-4d85-aef3-d7e8e051fe69" providerId="ADAL" clId="{CB384C6B-A00D-433E-855E-730CF8DB42CF}" dt="2018-03-08T20:54:16.014" v="2787" actId="255"/>
          <ac:spMkLst>
            <pc:docMk/>
            <pc:sldMk cId="2800481030" sldId="1663"/>
            <ac:spMk id="113" creationId="{D327CD05-F6DA-4532-A999-566F4D3C6858}"/>
          </ac:spMkLst>
        </pc:spChg>
        <pc:spChg chg="mod">
          <ac:chgData name="Michael Collier" userId="c2873510-4a44-4d85-aef3-d7e8e051fe69" providerId="ADAL" clId="{CB384C6B-A00D-433E-855E-730CF8DB42CF}" dt="2018-03-08T20:54:16.014" v="2787" actId="255"/>
          <ac:spMkLst>
            <pc:docMk/>
            <pc:sldMk cId="2800481030" sldId="1663"/>
            <ac:spMk id="115" creationId="{1DDD2C8C-A6A9-4974-B07F-1BA83E1CE8E5}"/>
          </ac:spMkLst>
        </pc:spChg>
        <pc:spChg chg="mod">
          <ac:chgData name="Michael Collier" userId="c2873510-4a44-4d85-aef3-d7e8e051fe69" providerId="ADAL" clId="{CB384C6B-A00D-433E-855E-730CF8DB42CF}" dt="2018-03-08T20:54:16.014" v="2787" actId="255"/>
          <ac:spMkLst>
            <pc:docMk/>
            <pc:sldMk cId="2800481030" sldId="1663"/>
            <ac:spMk id="117" creationId="{21F10488-E243-4119-B31C-D67AA2F36837}"/>
          </ac:spMkLst>
        </pc:spChg>
        <pc:spChg chg="mod">
          <ac:chgData name="Michael Collier" userId="c2873510-4a44-4d85-aef3-d7e8e051fe69" providerId="ADAL" clId="{CB384C6B-A00D-433E-855E-730CF8DB42CF}" dt="2018-03-08T20:54:16.014" v="2787" actId="255"/>
          <ac:spMkLst>
            <pc:docMk/>
            <pc:sldMk cId="2800481030" sldId="1663"/>
            <ac:spMk id="118" creationId="{47EB0103-6F6E-44D6-921A-E5BC91BC1C60}"/>
          </ac:spMkLst>
        </pc:spChg>
        <pc:spChg chg="mod">
          <ac:chgData name="Michael Collier" userId="c2873510-4a44-4d85-aef3-d7e8e051fe69" providerId="ADAL" clId="{CB384C6B-A00D-433E-855E-730CF8DB42CF}" dt="2018-03-08T20:54:16.014" v="2787" actId="255"/>
          <ac:spMkLst>
            <pc:docMk/>
            <pc:sldMk cId="2800481030" sldId="1663"/>
            <ac:spMk id="119" creationId="{96F5D5A5-B788-44AD-89B7-A99FEDC11BE5}"/>
          </ac:spMkLst>
        </pc:spChg>
        <pc:spChg chg="mod">
          <ac:chgData name="Michael Collier" userId="c2873510-4a44-4d85-aef3-d7e8e051fe69" providerId="ADAL" clId="{CB384C6B-A00D-433E-855E-730CF8DB42CF}" dt="2018-03-08T20:54:16.014" v="2787" actId="255"/>
          <ac:spMkLst>
            <pc:docMk/>
            <pc:sldMk cId="2800481030" sldId="1663"/>
            <ac:spMk id="120" creationId="{8F61E9D1-9A32-4993-A4F7-06F5B91B1CF9}"/>
          </ac:spMkLst>
        </pc:spChg>
        <pc:spChg chg="mod">
          <ac:chgData name="Michael Collier" userId="c2873510-4a44-4d85-aef3-d7e8e051fe69" providerId="ADAL" clId="{CB384C6B-A00D-433E-855E-730CF8DB42CF}" dt="2018-03-08T20:54:16.014" v="2787" actId="255"/>
          <ac:spMkLst>
            <pc:docMk/>
            <pc:sldMk cId="2800481030" sldId="1663"/>
            <ac:spMk id="121" creationId="{11903224-F291-4B20-9062-BE116E66EBEE}"/>
          </ac:spMkLst>
        </pc:spChg>
        <pc:spChg chg="mod">
          <ac:chgData name="Michael Collier" userId="c2873510-4a44-4d85-aef3-d7e8e051fe69" providerId="ADAL" clId="{CB384C6B-A00D-433E-855E-730CF8DB42CF}" dt="2018-03-08T20:54:16.014" v="2787" actId="255"/>
          <ac:spMkLst>
            <pc:docMk/>
            <pc:sldMk cId="2800481030" sldId="1663"/>
            <ac:spMk id="122" creationId="{069876E2-166F-48F3-A314-F42A9A739576}"/>
          </ac:spMkLst>
        </pc:spChg>
        <pc:spChg chg="mod">
          <ac:chgData name="Michael Collier" userId="c2873510-4a44-4d85-aef3-d7e8e051fe69" providerId="ADAL" clId="{CB384C6B-A00D-433E-855E-730CF8DB42CF}" dt="2018-03-08T20:54:16.014" v="2787" actId="255"/>
          <ac:spMkLst>
            <pc:docMk/>
            <pc:sldMk cId="2800481030" sldId="1663"/>
            <ac:spMk id="123" creationId="{E9005DEE-165B-45F4-946F-F52C9E15AFF3}"/>
          </ac:spMkLst>
        </pc:spChg>
        <pc:spChg chg="mod">
          <ac:chgData name="Michael Collier" userId="c2873510-4a44-4d85-aef3-d7e8e051fe69" providerId="ADAL" clId="{CB384C6B-A00D-433E-855E-730CF8DB42CF}" dt="2018-03-08T20:54:16.014" v="2787" actId="255"/>
          <ac:spMkLst>
            <pc:docMk/>
            <pc:sldMk cId="2800481030" sldId="1663"/>
            <ac:spMk id="126" creationId="{158248BD-6840-4C25-B376-27DF7CA6F406}"/>
          </ac:spMkLst>
        </pc:spChg>
        <pc:spChg chg="mod">
          <ac:chgData name="Michael Collier" userId="c2873510-4a44-4d85-aef3-d7e8e051fe69" providerId="ADAL" clId="{CB384C6B-A00D-433E-855E-730CF8DB42CF}" dt="2018-03-08T20:54:16.014" v="2787" actId="255"/>
          <ac:spMkLst>
            <pc:docMk/>
            <pc:sldMk cId="2800481030" sldId="1663"/>
            <ac:spMk id="127" creationId="{6DE37FAB-20B5-434B-A997-EC98C8298ED9}"/>
          </ac:spMkLst>
        </pc:spChg>
        <pc:spChg chg="mod">
          <ac:chgData name="Michael Collier" userId="c2873510-4a44-4d85-aef3-d7e8e051fe69" providerId="ADAL" clId="{CB384C6B-A00D-433E-855E-730CF8DB42CF}" dt="2018-03-08T20:54:16.014" v="2787" actId="255"/>
          <ac:spMkLst>
            <pc:docMk/>
            <pc:sldMk cId="2800481030" sldId="1663"/>
            <ac:spMk id="128" creationId="{0485E0AE-EABA-4B6F-BE5B-CE1FEDF83B65}"/>
          </ac:spMkLst>
        </pc:spChg>
        <pc:spChg chg="mod">
          <ac:chgData name="Michael Collier" userId="c2873510-4a44-4d85-aef3-d7e8e051fe69" providerId="ADAL" clId="{CB384C6B-A00D-433E-855E-730CF8DB42CF}" dt="2018-03-08T20:54:16.014" v="2787" actId="255"/>
          <ac:spMkLst>
            <pc:docMk/>
            <pc:sldMk cId="2800481030" sldId="1663"/>
            <ac:spMk id="129" creationId="{14916460-5D4B-4DE9-802F-7A4373438751}"/>
          </ac:spMkLst>
        </pc:spChg>
        <pc:spChg chg="mod">
          <ac:chgData name="Michael Collier" userId="c2873510-4a44-4d85-aef3-d7e8e051fe69" providerId="ADAL" clId="{CB384C6B-A00D-433E-855E-730CF8DB42CF}" dt="2018-03-08T20:54:16.014" v="2787" actId="255"/>
          <ac:spMkLst>
            <pc:docMk/>
            <pc:sldMk cId="2800481030" sldId="1663"/>
            <ac:spMk id="132" creationId="{7E120A7C-A6A7-49B5-9A69-03A6E8F47348}"/>
          </ac:spMkLst>
        </pc:spChg>
        <pc:spChg chg="mod">
          <ac:chgData name="Michael Collier" userId="c2873510-4a44-4d85-aef3-d7e8e051fe69" providerId="ADAL" clId="{CB384C6B-A00D-433E-855E-730CF8DB42CF}" dt="2018-03-08T20:54:16.014" v="2787" actId="255"/>
          <ac:spMkLst>
            <pc:docMk/>
            <pc:sldMk cId="2800481030" sldId="1663"/>
            <ac:spMk id="134" creationId="{3B672C1E-DD9A-40B9-AD1C-F22056660ADE}"/>
          </ac:spMkLst>
        </pc:spChg>
        <pc:spChg chg="mod">
          <ac:chgData name="Michael Collier" userId="c2873510-4a44-4d85-aef3-d7e8e051fe69" providerId="ADAL" clId="{CB384C6B-A00D-433E-855E-730CF8DB42CF}" dt="2018-03-08T20:54:16.014" v="2787" actId="255"/>
          <ac:spMkLst>
            <pc:docMk/>
            <pc:sldMk cId="2800481030" sldId="1663"/>
            <ac:spMk id="135" creationId="{2FF2E484-828F-420A-A7D3-C7943F7AEE9B}"/>
          </ac:spMkLst>
        </pc:spChg>
        <pc:spChg chg="mod">
          <ac:chgData name="Michael Collier" userId="c2873510-4a44-4d85-aef3-d7e8e051fe69" providerId="ADAL" clId="{CB384C6B-A00D-433E-855E-730CF8DB42CF}" dt="2018-03-08T20:54:16.014" v="2787" actId="255"/>
          <ac:spMkLst>
            <pc:docMk/>
            <pc:sldMk cId="2800481030" sldId="1663"/>
            <ac:spMk id="136" creationId="{9D11CF77-80B3-4B8E-B46E-896A0FBA8A4A}"/>
          </ac:spMkLst>
        </pc:spChg>
        <pc:spChg chg="mod">
          <ac:chgData name="Michael Collier" userId="c2873510-4a44-4d85-aef3-d7e8e051fe69" providerId="ADAL" clId="{CB384C6B-A00D-433E-855E-730CF8DB42CF}" dt="2018-03-08T20:54:16.014" v="2787" actId="255"/>
          <ac:spMkLst>
            <pc:docMk/>
            <pc:sldMk cId="2800481030" sldId="1663"/>
            <ac:spMk id="137" creationId="{C7284D38-B406-4DF1-97E7-024493756CB2}"/>
          </ac:spMkLst>
        </pc:spChg>
        <pc:spChg chg="mod">
          <ac:chgData name="Michael Collier" userId="c2873510-4a44-4d85-aef3-d7e8e051fe69" providerId="ADAL" clId="{CB384C6B-A00D-433E-855E-730CF8DB42CF}" dt="2018-03-08T20:54:16.014" v="2787" actId="255"/>
          <ac:spMkLst>
            <pc:docMk/>
            <pc:sldMk cId="2800481030" sldId="1663"/>
            <ac:spMk id="138" creationId="{298A196B-8840-46DB-9E60-406F8E54A708}"/>
          </ac:spMkLst>
        </pc:spChg>
        <pc:spChg chg="mod">
          <ac:chgData name="Michael Collier" userId="c2873510-4a44-4d85-aef3-d7e8e051fe69" providerId="ADAL" clId="{CB384C6B-A00D-433E-855E-730CF8DB42CF}" dt="2018-03-08T20:54:16.014" v="2787" actId="255"/>
          <ac:spMkLst>
            <pc:docMk/>
            <pc:sldMk cId="2800481030" sldId="1663"/>
            <ac:spMk id="139" creationId="{ED6AC2BA-DA1D-481D-B4E7-EFDBF597B55F}"/>
          </ac:spMkLst>
        </pc:spChg>
        <pc:spChg chg="mod">
          <ac:chgData name="Michael Collier" userId="c2873510-4a44-4d85-aef3-d7e8e051fe69" providerId="ADAL" clId="{CB384C6B-A00D-433E-855E-730CF8DB42CF}" dt="2018-03-08T20:54:16.014" v="2787" actId="255"/>
          <ac:spMkLst>
            <pc:docMk/>
            <pc:sldMk cId="2800481030" sldId="1663"/>
            <ac:spMk id="140" creationId="{D8F91559-7278-416E-A198-42E3B773CDAB}"/>
          </ac:spMkLst>
        </pc:spChg>
        <pc:spChg chg="mod">
          <ac:chgData name="Michael Collier" userId="c2873510-4a44-4d85-aef3-d7e8e051fe69" providerId="ADAL" clId="{CB384C6B-A00D-433E-855E-730CF8DB42CF}" dt="2018-03-08T20:54:16.014" v="2787" actId="255"/>
          <ac:spMkLst>
            <pc:docMk/>
            <pc:sldMk cId="2800481030" sldId="1663"/>
            <ac:spMk id="142" creationId="{9FD7D5AE-61AF-40EE-B72E-C74178982FB4}"/>
          </ac:spMkLst>
        </pc:spChg>
        <pc:spChg chg="mod">
          <ac:chgData name="Michael Collier" userId="c2873510-4a44-4d85-aef3-d7e8e051fe69" providerId="ADAL" clId="{CB384C6B-A00D-433E-855E-730CF8DB42CF}" dt="2018-03-08T20:54:16.014" v="2787" actId="255"/>
          <ac:spMkLst>
            <pc:docMk/>
            <pc:sldMk cId="2800481030" sldId="1663"/>
            <ac:spMk id="143" creationId="{653CB8CB-B894-4130-A3A8-F0627696085E}"/>
          </ac:spMkLst>
        </pc:spChg>
        <pc:spChg chg="mod">
          <ac:chgData name="Michael Collier" userId="c2873510-4a44-4d85-aef3-d7e8e051fe69" providerId="ADAL" clId="{CB384C6B-A00D-433E-855E-730CF8DB42CF}" dt="2018-03-08T20:54:16.014" v="2787" actId="255"/>
          <ac:spMkLst>
            <pc:docMk/>
            <pc:sldMk cId="2800481030" sldId="1663"/>
            <ac:spMk id="144" creationId="{B4794FBB-56DE-4D03-98C1-842256C1A677}"/>
          </ac:spMkLst>
        </pc:spChg>
        <pc:spChg chg="mod">
          <ac:chgData name="Michael Collier" userId="c2873510-4a44-4d85-aef3-d7e8e051fe69" providerId="ADAL" clId="{CB384C6B-A00D-433E-855E-730CF8DB42CF}" dt="2018-03-08T20:54:16.014" v="2787" actId="255"/>
          <ac:spMkLst>
            <pc:docMk/>
            <pc:sldMk cId="2800481030" sldId="1663"/>
            <ac:spMk id="145" creationId="{0A7CBEA3-6C9D-4655-92BA-4227CDAA82D5}"/>
          </ac:spMkLst>
        </pc:spChg>
        <pc:spChg chg="mod">
          <ac:chgData name="Michael Collier" userId="c2873510-4a44-4d85-aef3-d7e8e051fe69" providerId="ADAL" clId="{CB384C6B-A00D-433E-855E-730CF8DB42CF}" dt="2018-03-08T20:54:16.014" v="2787" actId="255"/>
          <ac:spMkLst>
            <pc:docMk/>
            <pc:sldMk cId="2800481030" sldId="1663"/>
            <ac:spMk id="148" creationId="{B5311E3D-27A3-4207-9DA9-24EC1DE85DCE}"/>
          </ac:spMkLst>
        </pc:spChg>
        <pc:spChg chg="mod">
          <ac:chgData name="Michael Collier" userId="c2873510-4a44-4d85-aef3-d7e8e051fe69" providerId="ADAL" clId="{CB384C6B-A00D-433E-855E-730CF8DB42CF}" dt="2018-03-08T20:54:16.014" v="2787" actId="255"/>
          <ac:spMkLst>
            <pc:docMk/>
            <pc:sldMk cId="2800481030" sldId="1663"/>
            <ac:spMk id="150" creationId="{576A8630-7F2B-4010-8BAF-489A66B74159}"/>
          </ac:spMkLst>
        </pc:spChg>
        <pc:spChg chg="mod">
          <ac:chgData name="Michael Collier" userId="c2873510-4a44-4d85-aef3-d7e8e051fe69" providerId="ADAL" clId="{CB384C6B-A00D-433E-855E-730CF8DB42CF}" dt="2018-03-08T20:54:16.014" v="2787" actId="255"/>
          <ac:spMkLst>
            <pc:docMk/>
            <pc:sldMk cId="2800481030" sldId="1663"/>
            <ac:spMk id="151" creationId="{3F97A034-FD7B-4984-9844-82B515ED95C0}"/>
          </ac:spMkLst>
        </pc:spChg>
        <pc:spChg chg="mod">
          <ac:chgData name="Michael Collier" userId="c2873510-4a44-4d85-aef3-d7e8e051fe69" providerId="ADAL" clId="{CB384C6B-A00D-433E-855E-730CF8DB42CF}" dt="2018-03-08T20:54:16.014" v="2787" actId="255"/>
          <ac:spMkLst>
            <pc:docMk/>
            <pc:sldMk cId="2800481030" sldId="1663"/>
            <ac:spMk id="152" creationId="{FAF3521D-EB56-4691-ADF0-8DAF4ED09BA6}"/>
          </ac:spMkLst>
        </pc:spChg>
        <pc:spChg chg="mod">
          <ac:chgData name="Michael Collier" userId="c2873510-4a44-4d85-aef3-d7e8e051fe69" providerId="ADAL" clId="{CB384C6B-A00D-433E-855E-730CF8DB42CF}" dt="2018-03-08T20:54:16.014" v="2787" actId="255"/>
          <ac:spMkLst>
            <pc:docMk/>
            <pc:sldMk cId="2800481030" sldId="1663"/>
            <ac:spMk id="153" creationId="{DA01D396-2EF0-44A6-9CBC-9EDF6193A169}"/>
          </ac:spMkLst>
        </pc:spChg>
        <pc:spChg chg="add mod topLvl">
          <ac:chgData name="Michael Collier" userId="c2873510-4a44-4d85-aef3-d7e8e051fe69" providerId="ADAL" clId="{CB384C6B-A00D-433E-855E-730CF8DB42CF}" dt="2018-03-09T03:20:24.758" v="3882" actId="208"/>
          <ac:spMkLst>
            <pc:docMk/>
            <pc:sldMk cId="2800481030" sldId="1663"/>
            <ac:spMk id="154" creationId="{D5D1D212-6070-4500-B45C-ABBB5F377F67}"/>
          </ac:spMkLst>
        </pc:spChg>
        <pc:spChg chg="add mod topLvl">
          <ac:chgData name="Michael Collier" userId="c2873510-4a44-4d85-aef3-d7e8e051fe69" providerId="ADAL" clId="{CB384C6B-A00D-433E-855E-730CF8DB42CF}" dt="2018-03-09T03:20:24.758" v="3882" actId="208"/>
          <ac:spMkLst>
            <pc:docMk/>
            <pc:sldMk cId="2800481030" sldId="1663"/>
            <ac:spMk id="155" creationId="{18A5DE85-8D64-4ACE-AE65-166306C01601}"/>
          </ac:spMkLst>
        </pc:spChg>
        <pc:spChg chg="add mod topLvl">
          <ac:chgData name="Michael Collier" userId="c2873510-4a44-4d85-aef3-d7e8e051fe69" providerId="ADAL" clId="{CB384C6B-A00D-433E-855E-730CF8DB42CF}" dt="2018-03-09T03:20:24.758" v="3882" actId="208"/>
          <ac:spMkLst>
            <pc:docMk/>
            <pc:sldMk cId="2800481030" sldId="1663"/>
            <ac:spMk id="156" creationId="{E28BF3E4-0A37-44B0-972B-8ADCAF3CF5D8}"/>
          </ac:spMkLst>
        </pc:spChg>
        <pc:spChg chg="add mod">
          <ac:chgData name="Michael Collier" userId="c2873510-4a44-4d85-aef3-d7e8e051fe69" providerId="ADAL" clId="{CB384C6B-A00D-433E-855E-730CF8DB42CF}" dt="2018-03-09T03:20:24.758" v="3882" actId="208"/>
          <ac:spMkLst>
            <pc:docMk/>
            <pc:sldMk cId="2800481030" sldId="1663"/>
            <ac:spMk id="157" creationId="{501EEA76-7A0F-447A-A9D2-1ED517365F03}"/>
          </ac:spMkLst>
        </pc:spChg>
        <pc:grpChg chg="add del mod">
          <ac:chgData name="Michael Collier" userId="c2873510-4a44-4d85-aef3-d7e8e051fe69" providerId="ADAL" clId="{CB384C6B-A00D-433E-855E-730CF8DB42CF}" dt="2018-03-08T20:59:46.510" v="3082" actId="165"/>
          <ac:grpSpMkLst>
            <pc:docMk/>
            <pc:sldMk cId="2800481030" sldId="1663"/>
            <ac:grpSpMk id="3" creationId="{8D242B11-B6B7-49E9-87B3-3CE6AB6A18EA}"/>
          </ac:grpSpMkLst>
        </pc:grpChg>
        <pc:grpChg chg="add del mod">
          <ac:chgData name="Michael Collier" userId="c2873510-4a44-4d85-aef3-d7e8e051fe69" providerId="ADAL" clId="{CB384C6B-A00D-433E-855E-730CF8DB42CF}" dt="2018-03-08T20:59:55.981" v="3085" actId="165"/>
          <ac:grpSpMkLst>
            <pc:docMk/>
            <pc:sldMk cId="2800481030" sldId="1663"/>
            <ac:grpSpMk id="4" creationId="{0C09A881-B67A-4AB5-96A8-CA06FAC11FCC}"/>
          </ac:grpSpMkLst>
        </pc:grpChg>
        <pc:grpChg chg="add del">
          <ac:chgData name="Michael Collier" userId="c2873510-4a44-4d85-aef3-d7e8e051fe69" providerId="ADAL" clId="{CB384C6B-A00D-433E-855E-730CF8DB42CF}" dt="2018-03-08T20:52:37.535" v="2767" actId="208"/>
          <ac:grpSpMkLst>
            <pc:docMk/>
            <pc:sldMk cId="2800481030" sldId="1663"/>
            <ac:grpSpMk id="7" creationId="{073E37FB-6F69-4A2D-85BF-99B1AC79D477}"/>
          </ac:grpSpMkLst>
        </pc:grpChg>
        <pc:grpChg chg="add del">
          <ac:chgData name="Michael Collier" userId="c2873510-4a44-4d85-aef3-d7e8e051fe69" providerId="ADAL" clId="{CB384C6B-A00D-433E-855E-730CF8DB42CF}" dt="2018-03-08T20:52:37.535" v="2767" actId="208"/>
          <ac:grpSpMkLst>
            <pc:docMk/>
            <pc:sldMk cId="2800481030" sldId="1663"/>
            <ac:grpSpMk id="28" creationId="{AF7A5995-7692-407D-8BBC-6F1ABC337F1E}"/>
          </ac:grpSpMkLst>
        </pc:grpChg>
        <pc:grpChg chg="add del">
          <ac:chgData name="Michael Collier" userId="c2873510-4a44-4d85-aef3-d7e8e051fe69" providerId="ADAL" clId="{CB384C6B-A00D-433E-855E-730CF8DB42CF}" dt="2018-03-08T20:52:37.535" v="2767" actId="208"/>
          <ac:grpSpMkLst>
            <pc:docMk/>
            <pc:sldMk cId="2800481030" sldId="1663"/>
            <ac:grpSpMk id="47" creationId="{51421A9A-4BB6-4506-841E-8A5521A32446}"/>
          </ac:grpSpMkLst>
        </pc:grpChg>
        <pc:grpChg chg="add del">
          <ac:chgData name="Michael Collier" userId="c2873510-4a44-4d85-aef3-d7e8e051fe69" providerId="ADAL" clId="{CB384C6B-A00D-433E-855E-730CF8DB42CF}" dt="2018-03-08T20:52:45.314" v="2769" actId="208"/>
          <ac:grpSpMkLst>
            <pc:docMk/>
            <pc:sldMk cId="2800481030" sldId="1663"/>
            <ac:grpSpMk id="73" creationId="{A2929B23-CC73-4A7B-9AA7-2FC1E6F156CA}"/>
          </ac:grpSpMkLst>
        </pc:grpChg>
        <pc:grpChg chg="add mod topLvl">
          <ac:chgData name="Michael Collier" userId="c2873510-4a44-4d85-aef3-d7e8e051fe69" providerId="ADAL" clId="{CB384C6B-A00D-433E-855E-730CF8DB42CF}" dt="2018-03-08T20:59:46.510" v="3082" actId="165"/>
          <ac:grpSpMkLst>
            <pc:docMk/>
            <pc:sldMk cId="2800481030" sldId="1663"/>
            <ac:grpSpMk id="92" creationId="{6F7FCBD1-E792-49C9-8BF3-8A17BE6F6622}"/>
          </ac:grpSpMkLst>
        </pc:grpChg>
        <pc:grpChg chg="add mod topLvl">
          <ac:chgData name="Michael Collier" userId="c2873510-4a44-4d85-aef3-d7e8e051fe69" providerId="ADAL" clId="{CB384C6B-A00D-433E-855E-730CF8DB42CF}" dt="2018-03-08T21:00:06.716" v="3087" actId="165"/>
          <ac:grpSpMkLst>
            <pc:docMk/>
            <pc:sldMk cId="2800481030" sldId="1663"/>
            <ac:grpSpMk id="111" creationId="{73343923-6037-4D5A-8F94-FCDAC17FD3C3}"/>
          </ac:grpSpMkLst>
        </pc:grpChg>
        <pc:grpChg chg="add mod topLvl">
          <ac:chgData name="Michael Collier" userId="c2873510-4a44-4d85-aef3-d7e8e051fe69" providerId="ADAL" clId="{CB384C6B-A00D-433E-855E-730CF8DB42CF}" dt="2018-03-08T20:59:55.981" v="3085" actId="165"/>
          <ac:grpSpMkLst>
            <pc:docMk/>
            <pc:sldMk cId="2800481030" sldId="1663"/>
            <ac:grpSpMk id="130" creationId="{671B8950-F361-4D1B-8532-51F73B1698BD}"/>
          </ac:grpSpMkLst>
        </pc:grpChg>
        <pc:grpChg chg="add mod topLvl">
          <ac:chgData name="Michael Collier" userId="c2873510-4a44-4d85-aef3-d7e8e051fe69" providerId="ADAL" clId="{CB384C6B-A00D-433E-855E-730CF8DB42CF}" dt="2018-03-08T21:00:17.201" v="3089" actId="165"/>
          <ac:grpSpMkLst>
            <pc:docMk/>
            <pc:sldMk cId="2800481030" sldId="1663"/>
            <ac:grpSpMk id="147" creationId="{CFE69381-DF88-4EE9-8330-D0BCBCA8183D}"/>
          </ac:grpSpMkLst>
        </pc:grpChg>
        <pc:grpChg chg="add del mod">
          <ac:chgData name="Michael Collier" userId="c2873510-4a44-4d85-aef3-d7e8e051fe69" providerId="ADAL" clId="{CB384C6B-A00D-433E-855E-730CF8DB42CF}" dt="2018-03-08T21:00:06.716" v="3087" actId="165"/>
          <ac:grpSpMkLst>
            <pc:docMk/>
            <pc:sldMk cId="2800481030" sldId="1663"/>
            <ac:grpSpMk id="158" creationId="{5A3B35E1-73E6-46E2-8A53-BF9B8E044026}"/>
          </ac:grpSpMkLst>
        </pc:grpChg>
        <pc:grpChg chg="add del mod">
          <ac:chgData name="Michael Collier" userId="c2873510-4a44-4d85-aef3-d7e8e051fe69" providerId="ADAL" clId="{CB384C6B-A00D-433E-855E-730CF8DB42CF}" dt="2018-03-08T21:00:17.201" v="3089" actId="165"/>
          <ac:grpSpMkLst>
            <pc:docMk/>
            <pc:sldMk cId="2800481030" sldId="1663"/>
            <ac:grpSpMk id="159" creationId="{2E961087-76B5-42CD-BB92-F75C185B13DC}"/>
          </ac:grpSpMkLst>
        </pc:grpChg>
        <pc:picChg chg="add del">
          <ac:chgData name="Michael Collier" userId="c2873510-4a44-4d85-aef3-d7e8e051fe69" providerId="ADAL" clId="{CB384C6B-A00D-433E-855E-730CF8DB42CF}" dt="2018-03-08T20:52:37.535" v="2767" actId="208"/>
          <ac:picMkLst>
            <pc:docMk/>
            <pc:sldMk cId="2800481030" sldId="1663"/>
            <ac:picMk id="64" creationId="{21B68889-2E8A-4F1B-97CB-45AA50932875}"/>
          </ac:picMkLst>
        </pc:picChg>
        <pc:picChg chg="add del">
          <ac:chgData name="Michael Collier" userId="c2873510-4a44-4d85-aef3-d7e8e051fe69" providerId="ADAL" clId="{CB384C6B-A00D-433E-855E-730CF8DB42CF}" dt="2018-03-08T20:52:37.535" v="2767" actId="208"/>
          <ac:picMkLst>
            <pc:docMk/>
            <pc:sldMk cId="2800481030" sldId="1663"/>
            <ac:picMk id="67" creationId="{DD90FCF0-551E-44A2-9CBF-77212BB9F95D}"/>
          </ac:picMkLst>
        </pc:picChg>
        <pc:picChg chg="add mod">
          <ac:chgData name="Michael Collier" userId="c2873510-4a44-4d85-aef3-d7e8e051fe69" providerId="ADAL" clId="{CB384C6B-A00D-433E-855E-730CF8DB42CF}" dt="2018-03-08T20:53:39.035" v="2779" actId="14100"/>
          <ac:picMkLst>
            <pc:docMk/>
            <pc:sldMk cId="2800481030" sldId="1663"/>
            <ac:picMk id="146" creationId="{8AEF5B7F-6EFF-4564-905F-5B7CD8788EAD}"/>
          </ac:picMkLst>
        </pc:picChg>
      </pc:sldChg>
      <pc:sldChg chg="addSp modSp del modTransition">
        <pc:chgData name="Michael Collier" userId="c2873510-4a44-4d85-aef3-d7e8e051fe69" providerId="ADAL" clId="{CB384C6B-A00D-433E-855E-730CF8DB42CF}" dt="2018-03-09T02:09:42.925" v="3093" actId="2696"/>
        <pc:sldMkLst>
          <pc:docMk/>
          <pc:sldMk cId="1237326689" sldId="1664"/>
        </pc:sldMkLst>
        <pc:spChg chg="mod">
          <ac:chgData name="Michael Collier" userId="c2873510-4a44-4d85-aef3-d7e8e051fe69" providerId="ADAL" clId="{CB384C6B-A00D-433E-855E-730CF8DB42CF}" dt="2018-03-08T20:53:15.875" v="2774" actId="164"/>
          <ac:spMkLst>
            <pc:docMk/>
            <pc:sldMk cId="1237326689" sldId="1664"/>
            <ac:spMk id="41" creationId="{8DCDA653-B8FB-4707-8E57-DEBE34CDD0B6}"/>
          </ac:spMkLst>
        </pc:spChg>
        <pc:spChg chg="mod">
          <ac:chgData name="Michael Collier" userId="c2873510-4a44-4d85-aef3-d7e8e051fe69" providerId="ADAL" clId="{CB384C6B-A00D-433E-855E-730CF8DB42CF}" dt="2018-03-08T20:53:15.875" v="2774" actId="164"/>
          <ac:spMkLst>
            <pc:docMk/>
            <pc:sldMk cId="1237326689" sldId="1664"/>
            <ac:spMk id="65" creationId="{3DCE83A1-3AE8-487D-A3C1-9B40528A5CB5}"/>
          </ac:spMkLst>
        </pc:spChg>
        <pc:spChg chg="mod">
          <ac:chgData name="Michael Collier" userId="c2873510-4a44-4d85-aef3-d7e8e051fe69" providerId="ADAL" clId="{CB384C6B-A00D-433E-855E-730CF8DB42CF}" dt="2018-03-08T20:53:15.875" v="2774" actId="164"/>
          <ac:spMkLst>
            <pc:docMk/>
            <pc:sldMk cId="1237326689" sldId="1664"/>
            <ac:spMk id="66" creationId="{95E39117-16BE-46AE-8A8E-BB6ABFFC3E6A}"/>
          </ac:spMkLst>
        </pc:spChg>
        <pc:spChg chg="mod">
          <ac:chgData name="Michael Collier" userId="c2873510-4a44-4d85-aef3-d7e8e051fe69" providerId="ADAL" clId="{CB384C6B-A00D-433E-855E-730CF8DB42CF}" dt="2018-03-08T20:53:15.875" v="2774" actId="164"/>
          <ac:spMkLst>
            <pc:docMk/>
            <pc:sldMk cId="1237326689" sldId="1664"/>
            <ac:spMk id="67" creationId="{0303C0F9-774E-4C92-8AE2-DB2897990FCA}"/>
          </ac:spMkLst>
        </pc:spChg>
        <pc:spChg chg="mod">
          <ac:chgData name="Michael Collier" userId="c2873510-4a44-4d85-aef3-d7e8e051fe69" providerId="ADAL" clId="{CB384C6B-A00D-433E-855E-730CF8DB42CF}" dt="2018-03-08T20:53:15.875" v="2774" actId="164"/>
          <ac:spMkLst>
            <pc:docMk/>
            <pc:sldMk cId="1237326689" sldId="1664"/>
            <ac:spMk id="68" creationId="{70A20E7D-5B06-4980-80E9-CB7DBBDB2DBA}"/>
          </ac:spMkLst>
        </pc:spChg>
        <pc:grpChg chg="add mod">
          <ac:chgData name="Michael Collier" userId="c2873510-4a44-4d85-aef3-d7e8e051fe69" providerId="ADAL" clId="{CB384C6B-A00D-433E-855E-730CF8DB42CF}" dt="2018-03-08T20:53:15.875" v="2774" actId="164"/>
          <ac:grpSpMkLst>
            <pc:docMk/>
            <pc:sldMk cId="1237326689" sldId="1664"/>
            <ac:grpSpMk id="59" creationId="{2EB7F5E9-A672-485F-97F9-FD15B1B8A1B1}"/>
          </ac:grpSpMkLst>
        </pc:grpChg>
        <pc:picChg chg="mod">
          <ac:chgData name="Michael Collier" userId="c2873510-4a44-4d85-aef3-d7e8e051fe69" providerId="ADAL" clId="{CB384C6B-A00D-433E-855E-730CF8DB42CF}" dt="2018-03-08T20:53:15.875" v="2774" actId="164"/>
          <ac:picMkLst>
            <pc:docMk/>
            <pc:sldMk cId="1237326689" sldId="1664"/>
            <ac:picMk id="64" creationId="{60A439B9-6C60-4CE8-9342-6AE158E64AA8}"/>
          </ac:picMkLst>
        </pc:picChg>
      </pc:sldChg>
      <pc:sldChg chg="ord">
        <pc:chgData name="Michael Collier" userId="c2873510-4a44-4d85-aef3-d7e8e051fe69" providerId="ADAL" clId="{CB384C6B-A00D-433E-855E-730CF8DB42CF}" dt="2018-03-09T03:51:48.253" v="4065"/>
        <pc:sldMkLst>
          <pc:docMk/>
          <pc:sldMk cId="3417589083" sldId="1664"/>
        </pc:sldMkLst>
      </pc:sldChg>
      <pc:sldChg chg="del">
        <pc:chgData name="Michael Collier" userId="c2873510-4a44-4d85-aef3-d7e8e051fe69" providerId="ADAL" clId="{CB384C6B-A00D-433E-855E-730CF8DB42CF}" dt="2018-03-09T02:41:11.699" v="3424" actId="2696"/>
        <pc:sldMkLst>
          <pc:docMk/>
          <pc:sldMk cId="1292860948" sldId="1667"/>
        </pc:sldMkLst>
      </pc:sldChg>
      <pc:sldChg chg="addSp delSp modSp add del modTransition">
        <pc:chgData name="Michael Collier" userId="c2873510-4a44-4d85-aef3-d7e8e051fe69" providerId="ADAL" clId="{CB384C6B-A00D-433E-855E-730CF8DB42CF}" dt="2018-03-09T03:02:47.738" v="3657" actId="2696"/>
        <pc:sldMkLst>
          <pc:docMk/>
          <pc:sldMk cId="3003069250" sldId="1668"/>
        </pc:sldMkLst>
        <pc:spChg chg="del">
          <ac:chgData name="Michael Collier" userId="c2873510-4a44-4d85-aef3-d7e8e051fe69" providerId="ADAL" clId="{CB384C6B-A00D-433E-855E-730CF8DB42CF}" dt="2018-03-08T19:29:16.409" v="1619" actId="2696"/>
          <ac:spMkLst>
            <pc:docMk/>
            <pc:sldMk cId="3003069250" sldId="1668"/>
            <ac:spMk id="2" creationId="{3643A329-D7DC-4548-874D-F9142E104D5F}"/>
          </ac:spMkLst>
        </pc:spChg>
        <pc:spChg chg="add del mod">
          <ac:chgData name="Michael Collier" userId="c2873510-4a44-4d85-aef3-d7e8e051fe69" providerId="ADAL" clId="{CB384C6B-A00D-433E-855E-730CF8DB42CF}" dt="2018-03-08T19:29:23.857" v="1620" actId="2696"/>
          <ac:spMkLst>
            <pc:docMk/>
            <pc:sldMk cId="3003069250" sldId="1668"/>
            <ac:spMk id="3" creationId="{08DDC970-80FF-41E1-8A4D-EBDA322DE1AC}"/>
          </ac:spMkLst>
        </pc:spChg>
        <pc:spChg chg="add mod">
          <ac:chgData name="Michael Collier" userId="c2873510-4a44-4d85-aef3-d7e8e051fe69" providerId="ADAL" clId="{CB384C6B-A00D-433E-855E-730CF8DB42CF}" dt="2018-03-08T19:29:49.482" v="1700" actId="20577"/>
          <ac:spMkLst>
            <pc:docMk/>
            <pc:sldMk cId="3003069250" sldId="1668"/>
            <ac:spMk id="4" creationId="{9D420BC2-302A-4665-8C8B-DE0BE9A0D41C}"/>
          </ac:spMkLst>
        </pc:spChg>
        <pc:picChg chg="add mod">
          <ac:chgData name="Michael Collier" userId="c2873510-4a44-4d85-aef3-d7e8e051fe69" providerId="ADAL" clId="{CB384C6B-A00D-433E-855E-730CF8DB42CF}" dt="2018-03-08T19:31:48.670" v="1703" actId="1076"/>
          <ac:picMkLst>
            <pc:docMk/>
            <pc:sldMk cId="3003069250" sldId="1668"/>
            <ac:picMk id="2050" creationId="{2D6B49F3-FA1B-47C0-A705-01D0A3340199}"/>
          </ac:picMkLst>
        </pc:picChg>
      </pc:sldChg>
      <pc:sldChg chg="ord">
        <pc:chgData name="Michael Collier" userId="c2873510-4a44-4d85-aef3-d7e8e051fe69" providerId="ADAL" clId="{CB384C6B-A00D-433E-855E-730CF8DB42CF}" dt="2018-03-09T03:51:48.253" v="4065"/>
        <pc:sldMkLst>
          <pc:docMk/>
          <pc:sldMk cId="3857548722" sldId="1668"/>
        </pc:sldMkLst>
      </pc:sldChg>
      <pc:sldChg chg="addSp delSp modSp add del modTransition">
        <pc:chgData name="Michael Collier" userId="c2873510-4a44-4d85-aef3-d7e8e051fe69" providerId="ADAL" clId="{CB384C6B-A00D-433E-855E-730CF8DB42CF}" dt="2018-03-08T19:44:47.350" v="1892" actId="2696"/>
        <pc:sldMkLst>
          <pc:docMk/>
          <pc:sldMk cId="1835231458" sldId="1669"/>
        </pc:sldMkLst>
        <pc:spChg chg="del">
          <ac:chgData name="Michael Collier" userId="c2873510-4a44-4d85-aef3-d7e8e051fe69" providerId="ADAL" clId="{CB384C6B-A00D-433E-855E-730CF8DB42CF}" dt="2018-03-08T19:34:11.455" v="1708" actId="2696"/>
          <ac:spMkLst>
            <pc:docMk/>
            <pc:sldMk cId="1835231458" sldId="1669"/>
            <ac:spMk id="2" creationId="{71A732A0-F146-4930-9DCF-EB19B2C30930}"/>
          </ac:spMkLst>
        </pc:spChg>
        <pc:spChg chg="del">
          <ac:chgData name="Michael Collier" userId="c2873510-4a44-4d85-aef3-d7e8e051fe69" providerId="ADAL" clId="{CB384C6B-A00D-433E-855E-730CF8DB42CF}" dt="2018-03-08T19:34:11.455" v="1708" actId="2696"/>
          <ac:spMkLst>
            <pc:docMk/>
            <pc:sldMk cId="1835231458" sldId="1669"/>
            <ac:spMk id="3" creationId="{30041BCF-6810-4E1C-B0FD-348085F85195}"/>
          </ac:spMkLst>
        </pc:spChg>
        <pc:spChg chg="add mod">
          <ac:chgData name="Michael Collier" userId="c2873510-4a44-4d85-aef3-d7e8e051fe69" providerId="ADAL" clId="{CB384C6B-A00D-433E-855E-730CF8DB42CF}" dt="2018-03-08T19:43:27.131" v="1884" actId="164"/>
          <ac:spMkLst>
            <pc:docMk/>
            <pc:sldMk cId="1835231458" sldId="1669"/>
            <ac:spMk id="16" creationId="{45A4DEF9-E3E6-455E-B549-1D721FD45951}"/>
          </ac:spMkLst>
        </pc:spChg>
        <pc:spChg chg="add mod">
          <ac:chgData name="Michael Collier" userId="c2873510-4a44-4d85-aef3-d7e8e051fe69" providerId="ADAL" clId="{CB384C6B-A00D-433E-855E-730CF8DB42CF}" dt="2018-03-08T19:43:27.131" v="1884" actId="164"/>
          <ac:spMkLst>
            <pc:docMk/>
            <pc:sldMk cId="1835231458" sldId="1669"/>
            <ac:spMk id="46" creationId="{B58EB29A-A815-4065-ABC0-323BC80EB271}"/>
          </ac:spMkLst>
        </pc:spChg>
        <pc:spChg chg="add mod">
          <ac:chgData name="Michael Collier" userId="c2873510-4a44-4d85-aef3-d7e8e051fe69" providerId="ADAL" clId="{CB384C6B-A00D-433E-855E-730CF8DB42CF}" dt="2018-03-08T19:43:27.131" v="1884" actId="164"/>
          <ac:spMkLst>
            <pc:docMk/>
            <pc:sldMk cId="1835231458" sldId="1669"/>
            <ac:spMk id="47" creationId="{84A7D174-EF18-42C2-9770-CAF85DFC2BBD}"/>
          </ac:spMkLst>
        </pc:spChg>
        <pc:spChg chg="add mod">
          <ac:chgData name="Michael Collier" userId="c2873510-4a44-4d85-aef3-d7e8e051fe69" providerId="ADAL" clId="{CB384C6B-A00D-433E-855E-730CF8DB42CF}" dt="2018-03-08T19:43:27.131" v="1884" actId="164"/>
          <ac:spMkLst>
            <pc:docMk/>
            <pc:sldMk cId="1835231458" sldId="1669"/>
            <ac:spMk id="52" creationId="{6714D048-9C49-45F9-9C23-0F860D465541}"/>
          </ac:spMkLst>
        </pc:spChg>
        <pc:spChg chg="add mod">
          <ac:chgData name="Michael Collier" userId="c2873510-4a44-4d85-aef3-d7e8e051fe69" providerId="ADAL" clId="{CB384C6B-A00D-433E-855E-730CF8DB42CF}" dt="2018-03-08T19:43:27.131" v="1884" actId="164"/>
          <ac:spMkLst>
            <pc:docMk/>
            <pc:sldMk cId="1835231458" sldId="1669"/>
            <ac:spMk id="54" creationId="{715DC510-9A0A-47B2-A79D-09C19C9ED592}"/>
          </ac:spMkLst>
        </pc:spChg>
        <pc:grpChg chg="add mod">
          <ac:chgData name="Michael Collier" userId="c2873510-4a44-4d85-aef3-d7e8e051fe69" providerId="ADAL" clId="{CB384C6B-A00D-433E-855E-730CF8DB42CF}" dt="2018-03-08T19:43:27.131" v="1884" actId="164"/>
          <ac:grpSpMkLst>
            <pc:docMk/>
            <pc:sldMk cId="1835231458" sldId="1669"/>
            <ac:grpSpMk id="55" creationId="{B2261273-DF07-4DC1-9A70-CDCEEE3E9EF0}"/>
          </ac:grpSpMkLst>
        </pc:grpChg>
        <pc:picChg chg="add mod">
          <ac:chgData name="Michael Collier" userId="c2873510-4a44-4d85-aef3-d7e8e051fe69" providerId="ADAL" clId="{CB384C6B-A00D-433E-855E-730CF8DB42CF}" dt="2018-03-08T19:43:27.131" v="1884" actId="164"/>
          <ac:picMkLst>
            <pc:docMk/>
            <pc:sldMk cId="1835231458" sldId="1669"/>
            <ac:picMk id="5" creationId="{C6FD408B-9C32-4F7E-BDBD-23FC50B58C23}"/>
          </ac:picMkLst>
        </pc:picChg>
        <pc:picChg chg="add mod">
          <ac:chgData name="Michael Collier" userId="c2873510-4a44-4d85-aef3-d7e8e051fe69" providerId="ADAL" clId="{CB384C6B-A00D-433E-855E-730CF8DB42CF}" dt="2018-03-08T19:43:27.131" v="1884" actId="164"/>
          <ac:picMkLst>
            <pc:docMk/>
            <pc:sldMk cId="1835231458" sldId="1669"/>
            <ac:picMk id="7" creationId="{6D899113-2B9B-406F-9453-9EF4A274D4D0}"/>
          </ac:picMkLst>
        </pc:picChg>
        <pc:picChg chg="add mod">
          <ac:chgData name="Michael Collier" userId="c2873510-4a44-4d85-aef3-d7e8e051fe69" providerId="ADAL" clId="{CB384C6B-A00D-433E-855E-730CF8DB42CF}" dt="2018-03-08T19:43:27.131" v="1884" actId="164"/>
          <ac:picMkLst>
            <pc:docMk/>
            <pc:sldMk cId="1835231458" sldId="1669"/>
            <ac:picMk id="12" creationId="{AF7FC5A4-EE4C-4343-90B0-8142DC6AB63B}"/>
          </ac:picMkLst>
        </pc:picChg>
        <pc:picChg chg="add mod">
          <ac:chgData name="Michael Collier" userId="c2873510-4a44-4d85-aef3-d7e8e051fe69" providerId="ADAL" clId="{CB384C6B-A00D-433E-855E-730CF8DB42CF}" dt="2018-03-08T19:43:27.131" v="1884" actId="164"/>
          <ac:picMkLst>
            <pc:docMk/>
            <pc:sldMk cId="1835231458" sldId="1669"/>
            <ac:picMk id="18" creationId="{475B05EB-D436-47C0-A5AB-52FA600DDEFB}"/>
          </ac:picMkLst>
        </pc:picChg>
        <pc:picChg chg="add mod">
          <ac:chgData name="Michael Collier" userId="c2873510-4a44-4d85-aef3-d7e8e051fe69" providerId="ADAL" clId="{CB384C6B-A00D-433E-855E-730CF8DB42CF}" dt="2018-03-08T19:43:27.131" v="1884" actId="164"/>
          <ac:picMkLst>
            <pc:docMk/>
            <pc:sldMk cId="1835231458" sldId="1669"/>
            <ac:picMk id="24" creationId="{27062380-59DE-42C8-A18C-897182DE5657}"/>
          </ac:picMkLst>
        </pc:picChg>
        <pc:picChg chg="add mod">
          <ac:chgData name="Michael Collier" userId="c2873510-4a44-4d85-aef3-d7e8e051fe69" providerId="ADAL" clId="{CB384C6B-A00D-433E-855E-730CF8DB42CF}" dt="2018-03-08T19:43:27.131" v="1884" actId="164"/>
          <ac:picMkLst>
            <pc:docMk/>
            <pc:sldMk cId="1835231458" sldId="1669"/>
            <ac:picMk id="26" creationId="{5429D827-8896-4602-A46A-48C22A2F19F2}"/>
          </ac:picMkLst>
        </pc:picChg>
        <pc:cxnChg chg="add mod">
          <ac:chgData name="Michael Collier" userId="c2873510-4a44-4d85-aef3-d7e8e051fe69" providerId="ADAL" clId="{CB384C6B-A00D-433E-855E-730CF8DB42CF}" dt="2018-03-08T19:43:27.131" v="1884" actId="164"/>
          <ac:cxnSpMkLst>
            <pc:docMk/>
            <pc:sldMk cId="1835231458" sldId="1669"/>
            <ac:cxnSpMk id="9" creationId="{2981B72B-CDC3-4BA0-A55D-DC2C3EA79134}"/>
          </ac:cxnSpMkLst>
        </pc:cxnChg>
        <pc:cxnChg chg="add mod">
          <ac:chgData name="Michael Collier" userId="c2873510-4a44-4d85-aef3-d7e8e051fe69" providerId="ADAL" clId="{CB384C6B-A00D-433E-855E-730CF8DB42CF}" dt="2018-03-08T19:43:27.131" v="1884" actId="164"/>
          <ac:cxnSpMkLst>
            <pc:docMk/>
            <pc:sldMk cId="1835231458" sldId="1669"/>
            <ac:cxnSpMk id="14" creationId="{F697F668-7F65-4F6C-8273-F3E90D61303B}"/>
          </ac:cxnSpMkLst>
        </pc:cxnChg>
        <pc:cxnChg chg="add mod">
          <ac:chgData name="Michael Collier" userId="c2873510-4a44-4d85-aef3-d7e8e051fe69" providerId="ADAL" clId="{CB384C6B-A00D-433E-855E-730CF8DB42CF}" dt="2018-03-08T19:43:27.131" v="1884" actId="164"/>
          <ac:cxnSpMkLst>
            <pc:docMk/>
            <pc:sldMk cId="1835231458" sldId="1669"/>
            <ac:cxnSpMk id="20" creationId="{A5BE8272-1E4A-4D72-BEC2-566AC33A6D60}"/>
          </ac:cxnSpMkLst>
        </pc:cxnChg>
        <pc:cxnChg chg="add mod">
          <ac:chgData name="Michael Collier" userId="c2873510-4a44-4d85-aef3-d7e8e051fe69" providerId="ADAL" clId="{CB384C6B-A00D-433E-855E-730CF8DB42CF}" dt="2018-03-08T19:43:27.131" v="1884" actId="164"/>
          <ac:cxnSpMkLst>
            <pc:docMk/>
            <pc:sldMk cId="1835231458" sldId="1669"/>
            <ac:cxnSpMk id="28" creationId="{344716C5-EC82-4F4D-B6E3-1D0D239C1A39}"/>
          </ac:cxnSpMkLst>
        </pc:cxnChg>
        <pc:cxnChg chg="add mod">
          <ac:chgData name="Michael Collier" userId="c2873510-4a44-4d85-aef3-d7e8e051fe69" providerId="ADAL" clId="{CB384C6B-A00D-433E-855E-730CF8DB42CF}" dt="2018-03-08T19:43:27.131" v="1884" actId="164"/>
          <ac:cxnSpMkLst>
            <pc:docMk/>
            <pc:sldMk cId="1835231458" sldId="1669"/>
            <ac:cxnSpMk id="30" creationId="{379F75B8-DBCE-41D3-890E-85AE7D3420AE}"/>
          </ac:cxnSpMkLst>
        </pc:cxnChg>
      </pc:sldChg>
      <pc:sldChg chg="add">
        <pc:chgData name="Michael Collier" userId="c2873510-4a44-4d85-aef3-d7e8e051fe69" providerId="ADAL" clId="{CB384C6B-A00D-433E-855E-730CF8DB42CF}" dt="2018-03-08T19:44:53.859" v="1894" actId="20577"/>
        <pc:sldMkLst>
          <pc:docMk/>
          <pc:sldMk cId="4084188665" sldId="1669"/>
        </pc:sldMkLst>
      </pc:sldChg>
      <pc:sldChg chg="add del">
        <pc:chgData name="Michael Collier" userId="c2873510-4a44-4d85-aef3-d7e8e051fe69" providerId="ADAL" clId="{CB384C6B-A00D-433E-855E-730CF8DB42CF}" dt="2018-03-09T02:21:52.604" v="3179" actId="2696"/>
        <pc:sldMkLst>
          <pc:docMk/>
          <pc:sldMk cId="2570295458" sldId="1670"/>
        </pc:sldMkLst>
      </pc:sldChg>
      <pc:sldChg chg="modNotesTx">
        <pc:chgData name="Michael Collier" userId="c2873510-4a44-4d85-aef3-d7e8e051fe69" providerId="ADAL" clId="{CB384C6B-A00D-433E-855E-730CF8DB42CF}" dt="2018-03-09T03:22:24.498" v="3883" actId="20577"/>
        <pc:sldMkLst>
          <pc:docMk/>
          <pc:sldMk cId="3763325844" sldId="1670"/>
        </pc:sldMkLst>
      </pc:sldChg>
      <pc:sldChg chg="ord">
        <pc:chgData name="Michael Collier" userId="c2873510-4a44-4d85-aef3-d7e8e051fe69" providerId="ADAL" clId="{CB384C6B-A00D-433E-855E-730CF8DB42CF}" dt="2018-03-09T03:46:05.629" v="4045" actId="20577"/>
        <pc:sldMkLst>
          <pc:docMk/>
          <pc:sldMk cId="677612115" sldId="1671"/>
        </pc:sldMkLst>
      </pc:sldChg>
      <pc:sldChg chg="del modTransition">
        <pc:chgData name="Michael Collier" userId="c2873510-4a44-4d85-aef3-d7e8e051fe69" providerId="ADAL" clId="{CB384C6B-A00D-433E-855E-730CF8DB42CF}" dt="2018-03-09T03:49:28.898" v="4054" actId="2696"/>
        <pc:sldMkLst>
          <pc:docMk/>
          <pc:sldMk cId="650468403" sldId="1672"/>
        </pc:sldMkLst>
      </pc:sldChg>
      <pc:sldChg chg="del">
        <pc:chgData name="Michael Collier" userId="c2873510-4a44-4d85-aef3-d7e8e051fe69" providerId="ADAL" clId="{CB384C6B-A00D-433E-855E-730CF8DB42CF}" dt="2018-03-09T03:49:52.145" v="4055" actId="2696"/>
        <pc:sldMkLst>
          <pc:docMk/>
          <pc:sldMk cId="3775979395" sldId="1672"/>
        </pc:sldMkLst>
      </pc:sldChg>
      <pc:sldChg chg="del">
        <pc:chgData name="Michael Collier" userId="c2873510-4a44-4d85-aef3-d7e8e051fe69" providerId="ADAL" clId="{CB384C6B-A00D-433E-855E-730CF8DB42CF}" dt="2018-03-09T03:49:52.223" v="4056" actId="2696"/>
        <pc:sldMkLst>
          <pc:docMk/>
          <pc:sldMk cId="1114814863" sldId="1673"/>
        </pc:sldMkLst>
      </pc:sldChg>
      <pc:sldChg chg="del modTransition">
        <pc:chgData name="Michael Collier" userId="c2873510-4a44-4d85-aef3-d7e8e051fe69" providerId="ADAL" clId="{CB384C6B-A00D-433E-855E-730CF8DB42CF}" dt="2018-03-09T03:49:28.892" v="4053" actId="2696"/>
        <pc:sldMkLst>
          <pc:docMk/>
          <pc:sldMk cId="2908139810" sldId="1673"/>
        </pc:sldMkLst>
      </pc:sldChg>
      <pc:sldChg chg="add ord">
        <pc:chgData name="Michael Collier" userId="c2873510-4a44-4d85-aef3-d7e8e051fe69" providerId="ADAL" clId="{CB384C6B-A00D-433E-855E-730CF8DB42CF}" dt="2018-03-09T03:51:48.253" v="4065"/>
        <pc:sldMkLst>
          <pc:docMk/>
          <pc:sldMk cId="558127559" sldId="1674"/>
        </pc:sldMkLst>
      </pc:sldChg>
      <pc:sldMasterChg chg="delSldLayout modSldLayout">
        <pc:chgData name="Michael Collier" userId="c2873510-4a44-4d85-aef3-d7e8e051fe69" providerId="ADAL" clId="{CB384C6B-A00D-433E-855E-730CF8DB42CF}" dt="2018-03-08T19:44:47.352" v="1893" actId="2696"/>
        <pc:sldMasterMkLst>
          <pc:docMk/>
          <pc:sldMasterMk cId="928349212" sldId="2147483680"/>
        </pc:sldMasterMkLst>
        <pc:sldLayoutChg chg="del">
          <pc:chgData name="Michael Collier" userId="c2873510-4a44-4d85-aef3-d7e8e051fe69" providerId="ADAL" clId="{CB384C6B-A00D-433E-855E-730CF8DB42CF}" dt="2018-03-08T19:44:47.352" v="1893" actId="2696"/>
          <pc:sldLayoutMkLst>
            <pc:docMk/>
            <pc:sldMasterMk cId="928349212" sldId="2147483680"/>
            <pc:sldLayoutMk cId="633337200" sldId="2147483703"/>
          </pc:sldLayoutMkLst>
        </pc:sldLayoutChg>
      </pc:sldMasterChg>
      <pc:sldMasterChg chg="del delSldLayout">
        <pc:chgData name="Michael Collier" userId="c2873510-4a44-4d85-aef3-d7e8e051fe69" providerId="ADAL" clId="{CB384C6B-A00D-433E-855E-730CF8DB42CF}" dt="2018-03-09T02:13:37.853" v="3160" actId="2696"/>
        <pc:sldMasterMkLst>
          <pc:docMk/>
          <pc:sldMasterMk cId="271522072" sldId="2147483809"/>
        </pc:sldMasterMkLst>
        <pc:sldLayoutChg chg="del">
          <pc:chgData name="Michael Collier" userId="c2873510-4a44-4d85-aef3-d7e8e051fe69" providerId="ADAL" clId="{CB384C6B-A00D-433E-855E-730CF8DB42CF}" dt="2018-03-09T02:13:36.351" v="3134" actId="2696"/>
          <pc:sldLayoutMkLst>
            <pc:docMk/>
            <pc:sldMasterMk cId="271522072" sldId="2147483809"/>
            <pc:sldLayoutMk cId="376137286" sldId="2147483810"/>
          </pc:sldLayoutMkLst>
        </pc:sldLayoutChg>
        <pc:sldLayoutChg chg="del">
          <pc:chgData name="Michael Collier" userId="c2873510-4a44-4d85-aef3-d7e8e051fe69" providerId="ADAL" clId="{CB384C6B-A00D-433E-855E-730CF8DB42CF}" dt="2018-03-09T02:13:36.400" v="3135" actId="2696"/>
          <pc:sldLayoutMkLst>
            <pc:docMk/>
            <pc:sldMasterMk cId="271522072" sldId="2147483809"/>
            <pc:sldLayoutMk cId="1514718747" sldId="2147483811"/>
          </pc:sldLayoutMkLst>
        </pc:sldLayoutChg>
        <pc:sldLayoutChg chg="del">
          <pc:chgData name="Michael Collier" userId="c2873510-4a44-4d85-aef3-d7e8e051fe69" providerId="ADAL" clId="{CB384C6B-A00D-433E-855E-730CF8DB42CF}" dt="2018-03-09T02:13:36.520" v="3136" actId="2696"/>
          <pc:sldLayoutMkLst>
            <pc:docMk/>
            <pc:sldMasterMk cId="271522072" sldId="2147483809"/>
            <pc:sldLayoutMk cId="1644847442" sldId="2147483812"/>
          </pc:sldLayoutMkLst>
        </pc:sldLayoutChg>
        <pc:sldLayoutChg chg="del">
          <pc:chgData name="Michael Collier" userId="c2873510-4a44-4d85-aef3-d7e8e051fe69" providerId="ADAL" clId="{CB384C6B-A00D-433E-855E-730CF8DB42CF}" dt="2018-03-09T02:13:36.576" v="3137" actId="2696"/>
          <pc:sldLayoutMkLst>
            <pc:docMk/>
            <pc:sldMasterMk cId="271522072" sldId="2147483809"/>
            <pc:sldLayoutMk cId="2251389708" sldId="2147483813"/>
          </pc:sldLayoutMkLst>
        </pc:sldLayoutChg>
        <pc:sldLayoutChg chg="del">
          <pc:chgData name="Michael Collier" userId="c2873510-4a44-4d85-aef3-d7e8e051fe69" providerId="ADAL" clId="{CB384C6B-A00D-433E-855E-730CF8DB42CF}" dt="2018-03-09T02:13:36.652" v="3138" actId="2696"/>
          <pc:sldLayoutMkLst>
            <pc:docMk/>
            <pc:sldMasterMk cId="271522072" sldId="2147483809"/>
            <pc:sldLayoutMk cId="3396014955" sldId="2147483814"/>
          </pc:sldLayoutMkLst>
        </pc:sldLayoutChg>
        <pc:sldLayoutChg chg="del">
          <pc:chgData name="Michael Collier" userId="c2873510-4a44-4d85-aef3-d7e8e051fe69" providerId="ADAL" clId="{CB384C6B-A00D-433E-855E-730CF8DB42CF}" dt="2018-03-09T02:13:36.688" v="3139" actId="2696"/>
          <pc:sldLayoutMkLst>
            <pc:docMk/>
            <pc:sldMasterMk cId="271522072" sldId="2147483809"/>
            <pc:sldLayoutMk cId="1316787735" sldId="2147483815"/>
          </pc:sldLayoutMkLst>
        </pc:sldLayoutChg>
        <pc:sldLayoutChg chg="del">
          <pc:chgData name="Michael Collier" userId="c2873510-4a44-4d85-aef3-d7e8e051fe69" providerId="ADAL" clId="{CB384C6B-A00D-433E-855E-730CF8DB42CF}" dt="2018-03-09T02:13:36.756" v="3140" actId="2696"/>
          <pc:sldLayoutMkLst>
            <pc:docMk/>
            <pc:sldMasterMk cId="271522072" sldId="2147483809"/>
            <pc:sldLayoutMk cId="662477407" sldId="2147483816"/>
          </pc:sldLayoutMkLst>
        </pc:sldLayoutChg>
        <pc:sldLayoutChg chg="del">
          <pc:chgData name="Michael Collier" userId="c2873510-4a44-4d85-aef3-d7e8e051fe69" providerId="ADAL" clId="{CB384C6B-A00D-433E-855E-730CF8DB42CF}" dt="2018-03-09T02:13:36.794" v="3141" actId="2696"/>
          <pc:sldLayoutMkLst>
            <pc:docMk/>
            <pc:sldMasterMk cId="271522072" sldId="2147483809"/>
            <pc:sldLayoutMk cId="1783336511" sldId="2147483817"/>
          </pc:sldLayoutMkLst>
        </pc:sldLayoutChg>
        <pc:sldLayoutChg chg="del">
          <pc:chgData name="Michael Collier" userId="c2873510-4a44-4d85-aef3-d7e8e051fe69" providerId="ADAL" clId="{CB384C6B-A00D-433E-855E-730CF8DB42CF}" dt="2018-03-09T02:13:36.877" v="3142" actId="2696"/>
          <pc:sldLayoutMkLst>
            <pc:docMk/>
            <pc:sldMasterMk cId="271522072" sldId="2147483809"/>
            <pc:sldLayoutMk cId="890466008" sldId="2147483818"/>
          </pc:sldLayoutMkLst>
        </pc:sldLayoutChg>
        <pc:sldLayoutChg chg="del">
          <pc:chgData name="Michael Collier" userId="c2873510-4a44-4d85-aef3-d7e8e051fe69" providerId="ADAL" clId="{CB384C6B-A00D-433E-855E-730CF8DB42CF}" dt="2018-03-09T02:13:36.919" v="3143" actId="2696"/>
          <pc:sldLayoutMkLst>
            <pc:docMk/>
            <pc:sldMasterMk cId="271522072" sldId="2147483809"/>
            <pc:sldLayoutMk cId="2356351511" sldId="2147483819"/>
          </pc:sldLayoutMkLst>
        </pc:sldLayoutChg>
        <pc:sldLayoutChg chg="del">
          <pc:chgData name="Michael Collier" userId="c2873510-4a44-4d85-aef3-d7e8e051fe69" providerId="ADAL" clId="{CB384C6B-A00D-433E-855E-730CF8DB42CF}" dt="2018-03-09T02:13:36.981" v="3144" actId="2696"/>
          <pc:sldLayoutMkLst>
            <pc:docMk/>
            <pc:sldMasterMk cId="271522072" sldId="2147483809"/>
            <pc:sldLayoutMk cId="2979690513" sldId="2147483820"/>
          </pc:sldLayoutMkLst>
        </pc:sldLayoutChg>
        <pc:sldLayoutChg chg="del">
          <pc:chgData name="Michael Collier" userId="c2873510-4a44-4d85-aef3-d7e8e051fe69" providerId="ADAL" clId="{CB384C6B-A00D-433E-855E-730CF8DB42CF}" dt="2018-03-09T02:13:37.016" v="3145" actId="2696"/>
          <pc:sldLayoutMkLst>
            <pc:docMk/>
            <pc:sldMasterMk cId="271522072" sldId="2147483809"/>
            <pc:sldLayoutMk cId="519240191" sldId="2147483821"/>
          </pc:sldLayoutMkLst>
        </pc:sldLayoutChg>
        <pc:sldLayoutChg chg="del">
          <pc:chgData name="Michael Collier" userId="c2873510-4a44-4d85-aef3-d7e8e051fe69" providerId="ADAL" clId="{CB384C6B-A00D-433E-855E-730CF8DB42CF}" dt="2018-03-09T02:13:37.088" v="3146" actId="2696"/>
          <pc:sldLayoutMkLst>
            <pc:docMk/>
            <pc:sldMasterMk cId="271522072" sldId="2147483809"/>
            <pc:sldLayoutMk cId="1301739650" sldId="2147483822"/>
          </pc:sldLayoutMkLst>
        </pc:sldLayoutChg>
        <pc:sldLayoutChg chg="del">
          <pc:chgData name="Michael Collier" userId="c2873510-4a44-4d85-aef3-d7e8e051fe69" providerId="ADAL" clId="{CB384C6B-A00D-433E-855E-730CF8DB42CF}" dt="2018-03-09T02:13:37.146" v="3147" actId="2696"/>
          <pc:sldLayoutMkLst>
            <pc:docMk/>
            <pc:sldMasterMk cId="271522072" sldId="2147483809"/>
            <pc:sldLayoutMk cId="2509944104" sldId="2147483823"/>
          </pc:sldLayoutMkLst>
        </pc:sldLayoutChg>
        <pc:sldLayoutChg chg="del">
          <pc:chgData name="Michael Collier" userId="c2873510-4a44-4d85-aef3-d7e8e051fe69" providerId="ADAL" clId="{CB384C6B-A00D-433E-855E-730CF8DB42CF}" dt="2018-03-09T02:13:37.224" v="3148" actId="2696"/>
          <pc:sldLayoutMkLst>
            <pc:docMk/>
            <pc:sldMasterMk cId="271522072" sldId="2147483809"/>
            <pc:sldLayoutMk cId="4113942837" sldId="2147483824"/>
          </pc:sldLayoutMkLst>
        </pc:sldLayoutChg>
        <pc:sldLayoutChg chg="del">
          <pc:chgData name="Michael Collier" userId="c2873510-4a44-4d85-aef3-d7e8e051fe69" providerId="ADAL" clId="{CB384C6B-A00D-433E-855E-730CF8DB42CF}" dt="2018-03-09T02:13:37.270" v="3149" actId="2696"/>
          <pc:sldLayoutMkLst>
            <pc:docMk/>
            <pc:sldMasterMk cId="271522072" sldId="2147483809"/>
            <pc:sldLayoutMk cId="3915921185" sldId="2147483825"/>
          </pc:sldLayoutMkLst>
        </pc:sldLayoutChg>
        <pc:sldLayoutChg chg="del">
          <pc:chgData name="Michael Collier" userId="c2873510-4a44-4d85-aef3-d7e8e051fe69" providerId="ADAL" clId="{CB384C6B-A00D-433E-855E-730CF8DB42CF}" dt="2018-03-09T02:13:37.349" v="3150" actId="2696"/>
          <pc:sldLayoutMkLst>
            <pc:docMk/>
            <pc:sldMasterMk cId="271522072" sldId="2147483809"/>
            <pc:sldLayoutMk cId="1880120359" sldId="2147483826"/>
          </pc:sldLayoutMkLst>
        </pc:sldLayoutChg>
        <pc:sldLayoutChg chg="del">
          <pc:chgData name="Michael Collier" userId="c2873510-4a44-4d85-aef3-d7e8e051fe69" providerId="ADAL" clId="{CB384C6B-A00D-433E-855E-730CF8DB42CF}" dt="2018-03-09T02:13:37.386" v="3151" actId="2696"/>
          <pc:sldLayoutMkLst>
            <pc:docMk/>
            <pc:sldMasterMk cId="271522072" sldId="2147483809"/>
            <pc:sldLayoutMk cId="4038384734" sldId="2147483827"/>
          </pc:sldLayoutMkLst>
        </pc:sldLayoutChg>
        <pc:sldLayoutChg chg="del">
          <pc:chgData name="Michael Collier" userId="c2873510-4a44-4d85-aef3-d7e8e051fe69" providerId="ADAL" clId="{CB384C6B-A00D-433E-855E-730CF8DB42CF}" dt="2018-03-09T02:13:37.457" v="3152" actId="2696"/>
          <pc:sldLayoutMkLst>
            <pc:docMk/>
            <pc:sldMasterMk cId="271522072" sldId="2147483809"/>
            <pc:sldLayoutMk cId="3878036716" sldId="2147483828"/>
          </pc:sldLayoutMkLst>
        </pc:sldLayoutChg>
        <pc:sldLayoutChg chg="del">
          <pc:chgData name="Michael Collier" userId="c2873510-4a44-4d85-aef3-d7e8e051fe69" providerId="ADAL" clId="{CB384C6B-A00D-433E-855E-730CF8DB42CF}" dt="2018-03-09T02:13:37.490" v="3153" actId="2696"/>
          <pc:sldLayoutMkLst>
            <pc:docMk/>
            <pc:sldMasterMk cId="271522072" sldId="2147483809"/>
            <pc:sldLayoutMk cId="3344949295" sldId="2147483829"/>
          </pc:sldLayoutMkLst>
        </pc:sldLayoutChg>
        <pc:sldLayoutChg chg="del">
          <pc:chgData name="Michael Collier" userId="c2873510-4a44-4d85-aef3-d7e8e051fe69" providerId="ADAL" clId="{CB384C6B-A00D-433E-855E-730CF8DB42CF}" dt="2018-03-09T02:13:37.562" v="3154" actId="2696"/>
          <pc:sldLayoutMkLst>
            <pc:docMk/>
            <pc:sldMasterMk cId="271522072" sldId="2147483809"/>
            <pc:sldLayoutMk cId="1227396989" sldId="2147483830"/>
          </pc:sldLayoutMkLst>
        </pc:sldLayoutChg>
        <pc:sldLayoutChg chg="del">
          <pc:chgData name="Michael Collier" userId="c2873510-4a44-4d85-aef3-d7e8e051fe69" providerId="ADAL" clId="{CB384C6B-A00D-433E-855E-730CF8DB42CF}" dt="2018-03-09T02:13:37.592" v="3155" actId="2696"/>
          <pc:sldLayoutMkLst>
            <pc:docMk/>
            <pc:sldMasterMk cId="271522072" sldId="2147483809"/>
            <pc:sldLayoutMk cId="435036573" sldId="2147483831"/>
          </pc:sldLayoutMkLst>
        </pc:sldLayoutChg>
        <pc:sldLayoutChg chg="del">
          <pc:chgData name="Michael Collier" userId="c2873510-4a44-4d85-aef3-d7e8e051fe69" providerId="ADAL" clId="{CB384C6B-A00D-433E-855E-730CF8DB42CF}" dt="2018-03-09T02:13:37.655" v="3156" actId="2696"/>
          <pc:sldLayoutMkLst>
            <pc:docMk/>
            <pc:sldMasterMk cId="271522072" sldId="2147483809"/>
            <pc:sldLayoutMk cId="3797020104" sldId="2147483832"/>
          </pc:sldLayoutMkLst>
        </pc:sldLayoutChg>
        <pc:sldLayoutChg chg="del">
          <pc:chgData name="Michael Collier" userId="c2873510-4a44-4d85-aef3-d7e8e051fe69" providerId="ADAL" clId="{CB384C6B-A00D-433E-855E-730CF8DB42CF}" dt="2018-03-09T02:13:37.695" v="3157" actId="2696"/>
          <pc:sldLayoutMkLst>
            <pc:docMk/>
            <pc:sldMasterMk cId="271522072" sldId="2147483809"/>
            <pc:sldLayoutMk cId="3810911074" sldId="2147483833"/>
          </pc:sldLayoutMkLst>
        </pc:sldLayoutChg>
        <pc:sldLayoutChg chg="del">
          <pc:chgData name="Michael Collier" userId="c2873510-4a44-4d85-aef3-d7e8e051fe69" providerId="ADAL" clId="{CB384C6B-A00D-433E-855E-730CF8DB42CF}" dt="2018-03-09T02:13:37.774" v="3158" actId="2696"/>
          <pc:sldLayoutMkLst>
            <pc:docMk/>
            <pc:sldMasterMk cId="271522072" sldId="2147483809"/>
            <pc:sldLayoutMk cId="3885604065" sldId="2147483834"/>
          </pc:sldLayoutMkLst>
        </pc:sldLayoutChg>
        <pc:sldLayoutChg chg="del">
          <pc:chgData name="Michael Collier" userId="c2873510-4a44-4d85-aef3-d7e8e051fe69" providerId="ADAL" clId="{CB384C6B-A00D-433E-855E-730CF8DB42CF}" dt="2018-03-09T02:13:37.813" v="3159" actId="2696"/>
          <pc:sldLayoutMkLst>
            <pc:docMk/>
            <pc:sldMasterMk cId="271522072" sldId="2147483809"/>
            <pc:sldLayoutMk cId="169493310" sldId="2147483835"/>
          </pc:sldLayoutMkLst>
        </pc:sldLayoutChg>
      </pc:sldMasterChg>
      <pc:sldMasterChg chg="del delSldLayout">
        <pc:chgData name="Michael Collier" userId="c2873510-4a44-4d85-aef3-d7e8e051fe69" providerId="ADAL" clId="{CB384C6B-A00D-433E-855E-730CF8DB42CF}" dt="2018-03-09T03:45:35.702" v="4044" actId="2696"/>
        <pc:sldMasterMkLst>
          <pc:docMk/>
          <pc:sldMasterMk cId="1637364953" sldId="2147483894"/>
        </pc:sldMasterMkLst>
        <pc:sldLayoutChg chg="del">
          <pc:chgData name="Michael Collier" userId="c2873510-4a44-4d85-aef3-d7e8e051fe69" providerId="ADAL" clId="{CB384C6B-A00D-433E-855E-730CF8DB42CF}" dt="2018-03-09T03:45:35.507" v="4022" actId="2696"/>
          <pc:sldLayoutMkLst>
            <pc:docMk/>
            <pc:sldMasterMk cId="1637364953" sldId="2147483894"/>
            <pc:sldLayoutMk cId="3344801310" sldId="2147483895"/>
          </pc:sldLayoutMkLst>
        </pc:sldLayoutChg>
        <pc:sldLayoutChg chg="del">
          <pc:chgData name="Michael Collier" userId="c2873510-4a44-4d85-aef3-d7e8e051fe69" providerId="ADAL" clId="{CB384C6B-A00D-433E-855E-730CF8DB42CF}" dt="2018-03-09T03:45:35.509" v="4023" actId="2696"/>
          <pc:sldLayoutMkLst>
            <pc:docMk/>
            <pc:sldMasterMk cId="1637364953" sldId="2147483894"/>
            <pc:sldLayoutMk cId="2959099074" sldId="2147483896"/>
          </pc:sldLayoutMkLst>
        </pc:sldLayoutChg>
        <pc:sldLayoutChg chg="del">
          <pc:chgData name="Michael Collier" userId="c2873510-4a44-4d85-aef3-d7e8e051fe69" providerId="ADAL" clId="{CB384C6B-A00D-433E-855E-730CF8DB42CF}" dt="2018-03-09T03:45:35.524" v="4024" actId="2696"/>
          <pc:sldLayoutMkLst>
            <pc:docMk/>
            <pc:sldMasterMk cId="1637364953" sldId="2147483894"/>
            <pc:sldLayoutMk cId="2902276813" sldId="2147483897"/>
          </pc:sldLayoutMkLst>
        </pc:sldLayoutChg>
        <pc:sldLayoutChg chg="del">
          <pc:chgData name="Michael Collier" userId="c2873510-4a44-4d85-aef3-d7e8e051fe69" providerId="ADAL" clId="{CB384C6B-A00D-433E-855E-730CF8DB42CF}" dt="2018-03-09T03:45:35.524" v="4025" actId="2696"/>
          <pc:sldLayoutMkLst>
            <pc:docMk/>
            <pc:sldMasterMk cId="1637364953" sldId="2147483894"/>
            <pc:sldLayoutMk cId="3198176775" sldId="2147483898"/>
          </pc:sldLayoutMkLst>
        </pc:sldLayoutChg>
        <pc:sldLayoutChg chg="del">
          <pc:chgData name="Michael Collier" userId="c2873510-4a44-4d85-aef3-d7e8e051fe69" providerId="ADAL" clId="{CB384C6B-A00D-433E-855E-730CF8DB42CF}" dt="2018-03-09T03:45:35.540" v="4026" actId="2696"/>
          <pc:sldLayoutMkLst>
            <pc:docMk/>
            <pc:sldMasterMk cId="1637364953" sldId="2147483894"/>
            <pc:sldLayoutMk cId="3312401052" sldId="2147483899"/>
          </pc:sldLayoutMkLst>
        </pc:sldLayoutChg>
        <pc:sldLayoutChg chg="del">
          <pc:chgData name="Michael Collier" userId="c2873510-4a44-4d85-aef3-d7e8e051fe69" providerId="ADAL" clId="{CB384C6B-A00D-433E-855E-730CF8DB42CF}" dt="2018-03-09T03:45:35.553" v="4027" actId="2696"/>
          <pc:sldLayoutMkLst>
            <pc:docMk/>
            <pc:sldMasterMk cId="1637364953" sldId="2147483894"/>
            <pc:sldLayoutMk cId="458966918" sldId="2147483900"/>
          </pc:sldLayoutMkLst>
        </pc:sldLayoutChg>
        <pc:sldLayoutChg chg="del">
          <pc:chgData name="Michael Collier" userId="c2873510-4a44-4d85-aef3-d7e8e051fe69" providerId="ADAL" clId="{CB384C6B-A00D-433E-855E-730CF8DB42CF}" dt="2018-03-09T03:45:35.562" v="4028" actId="2696"/>
          <pc:sldLayoutMkLst>
            <pc:docMk/>
            <pc:sldMasterMk cId="1637364953" sldId="2147483894"/>
            <pc:sldLayoutMk cId="364021827" sldId="2147483901"/>
          </pc:sldLayoutMkLst>
        </pc:sldLayoutChg>
        <pc:sldLayoutChg chg="del">
          <pc:chgData name="Michael Collier" userId="c2873510-4a44-4d85-aef3-d7e8e051fe69" providerId="ADAL" clId="{CB384C6B-A00D-433E-855E-730CF8DB42CF}" dt="2018-03-09T03:45:35.569" v="4029" actId="2696"/>
          <pc:sldLayoutMkLst>
            <pc:docMk/>
            <pc:sldMasterMk cId="1637364953" sldId="2147483894"/>
            <pc:sldLayoutMk cId="2586027527" sldId="2147483902"/>
          </pc:sldLayoutMkLst>
        </pc:sldLayoutChg>
        <pc:sldLayoutChg chg="del">
          <pc:chgData name="Michael Collier" userId="c2873510-4a44-4d85-aef3-d7e8e051fe69" providerId="ADAL" clId="{CB384C6B-A00D-433E-855E-730CF8DB42CF}" dt="2018-03-09T03:45:35.575" v="4030" actId="2696"/>
          <pc:sldLayoutMkLst>
            <pc:docMk/>
            <pc:sldMasterMk cId="1637364953" sldId="2147483894"/>
            <pc:sldLayoutMk cId="3199203535" sldId="2147483903"/>
          </pc:sldLayoutMkLst>
        </pc:sldLayoutChg>
        <pc:sldLayoutChg chg="del">
          <pc:chgData name="Michael Collier" userId="c2873510-4a44-4d85-aef3-d7e8e051fe69" providerId="ADAL" clId="{CB384C6B-A00D-433E-855E-730CF8DB42CF}" dt="2018-03-09T03:45:35.584" v="4031" actId="2696"/>
          <pc:sldLayoutMkLst>
            <pc:docMk/>
            <pc:sldMasterMk cId="1637364953" sldId="2147483894"/>
            <pc:sldLayoutMk cId="2474412403" sldId="2147483904"/>
          </pc:sldLayoutMkLst>
        </pc:sldLayoutChg>
        <pc:sldLayoutChg chg="del">
          <pc:chgData name="Michael Collier" userId="c2873510-4a44-4d85-aef3-d7e8e051fe69" providerId="ADAL" clId="{CB384C6B-A00D-433E-855E-730CF8DB42CF}" dt="2018-03-09T03:45:35.584" v="4032" actId="2696"/>
          <pc:sldLayoutMkLst>
            <pc:docMk/>
            <pc:sldMasterMk cId="1637364953" sldId="2147483894"/>
            <pc:sldLayoutMk cId="2886259665" sldId="2147483905"/>
          </pc:sldLayoutMkLst>
        </pc:sldLayoutChg>
        <pc:sldLayoutChg chg="del">
          <pc:chgData name="Michael Collier" userId="c2873510-4a44-4d85-aef3-d7e8e051fe69" providerId="ADAL" clId="{CB384C6B-A00D-433E-855E-730CF8DB42CF}" dt="2018-03-09T03:45:35.604" v="4033" actId="2696"/>
          <pc:sldLayoutMkLst>
            <pc:docMk/>
            <pc:sldMasterMk cId="1637364953" sldId="2147483894"/>
            <pc:sldLayoutMk cId="3008253918" sldId="2147483906"/>
          </pc:sldLayoutMkLst>
        </pc:sldLayoutChg>
        <pc:sldLayoutChg chg="del">
          <pc:chgData name="Michael Collier" userId="c2873510-4a44-4d85-aef3-d7e8e051fe69" providerId="ADAL" clId="{CB384C6B-A00D-433E-855E-730CF8DB42CF}" dt="2018-03-09T03:45:35.609" v="4034" actId="2696"/>
          <pc:sldLayoutMkLst>
            <pc:docMk/>
            <pc:sldMasterMk cId="1637364953" sldId="2147483894"/>
            <pc:sldLayoutMk cId="2722572365" sldId="2147483907"/>
          </pc:sldLayoutMkLst>
        </pc:sldLayoutChg>
        <pc:sldLayoutChg chg="del">
          <pc:chgData name="Michael Collier" userId="c2873510-4a44-4d85-aef3-d7e8e051fe69" providerId="ADAL" clId="{CB384C6B-A00D-433E-855E-730CF8DB42CF}" dt="2018-03-09T03:45:35.609" v="4035" actId="2696"/>
          <pc:sldLayoutMkLst>
            <pc:docMk/>
            <pc:sldMasterMk cId="1637364953" sldId="2147483894"/>
            <pc:sldLayoutMk cId="636792785" sldId="2147483908"/>
          </pc:sldLayoutMkLst>
        </pc:sldLayoutChg>
        <pc:sldLayoutChg chg="del">
          <pc:chgData name="Michael Collier" userId="c2873510-4a44-4d85-aef3-d7e8e051fe69" providerId="ADAL" clId="{CB384C6B-A00D-433E-855E-730CF8DB42CF}" dt="2018-03-09T03:45:35.624" v="4036" actId="2696"/>
          <pc:sldLayoutMkLst>
            <pc:docMk/>
            <pc:sldMasterMk cId="1637364953" sldId="2147483894"/>
            <pc:sldLayoutMk cId="3292750844" sldId="2147483909"/>
          </pc:sldLayoutMkLst>
        </pc:sldLayoutChg>
        <pc:sldLayoutChg chg="del">
          <pc:chgData name="Michael Collier" userId="c2873510-4a44-4d85-aef3-d7e8e051fe69" providerId="ADAL" clId="{CB384C6B-A00D-433E-855E-730CF8DB42CF}" dt="2018-03-09T03:45:35.624" v="4037" actId="2696"/>
          <pc:sldLayoutMkLst>
            <pc:docMk/>
            <pc:sldMasterMk cId="1637364953" sldId="2147483894"/>
            <pc:sldLayoutMk cId="1210293851" sldId="2147483910"/>
          </pc:sldLayoutMkLst>
        </pc:sldLayoutChg>
        <pc:sldLayoutChg chg="del">
          <pc:chgData name="Michael Collier" userId="c2873510-4a44-4d85-aef3-d7e8e051fe69" providerId="ADAL" clId="{CB384C6B-A00D-433E-855E-730CF8DB42CF}" dt="2018-03-09T03:45:35.640" v="4038" actId="2696"/>
          <pc:sldLayoutMkLst>
            <pc:docMk/>
            <pc:sldMasterMk cId="1637364953" sldId="2147483894"/>
            <pc:sldLayoutMk cId="2796909834" sldId="2147483911"/>
          </pc:sldLayoutMkLst>
        </pc:sldLayoutChg>
        <pc:sldLayoutChg chg="del">
          <pc:chgData name="Michael Collier" userId="c2873510-4a44-4d85-aef3-d7e8e051fe69" providerId="ADAL" clId="{CB384C6B-A00D-433E-855E-730CF8DB42CF}" dt="2018-03-09T03:45:35.656" v="4039" actId="2696"/>
          <pc:sldLayoutMkLst>
            <pc:docMk/>
            <pc:sldMasterMk cId="1637364953" sldId="2147483894"/>
            <pc:sldLayoutMk cId="3683327475" sldId="2147483912"/>
          </pc:sldLayoutMkLst>
        </pc:sldLayoutChg>
        <pc:sldLayoutChg chg="del">
          <pc:chgData name="Michael Collier" userId="c2873510-4a44-4d85-aef3-d7e8e051fe69" providerId="ADAL" clId="{CB384C6B-A00D-433E-855E-730CF8DB42CF}" dt="2018-03-09T03:45:35.656" v="4040" actId="2696"/>
          <pc:sldLayoutMkLst>
            <pc:docMk/>
            <pc:sldMasterMk cId="1637364953" sldId="2147483894"/>
            <pc:sldLayoutMk cId="1310603897" sldId="2147483913"/>
          </pc:sldLayoutMkLst>
        </pc:sldLayoutChg>
        <pc:sldLayoutChg chg="del">
          <pc:chgData name="Michael Collier" userId="c2873510-4a44-4d85-aef3-d7e8e051fe69" providerId="ADAL" clId="{CB384C6B-A00D-433E-855E-730CF8DB42CF}" dt="2018-03-09T03:45:35.671" v="4041" actId="2696"/>
          <pc:sldLayoutMkLst>
            <pc:docMk/>
            <pc:sldMasterMk cId="1637364953" sldId="2147483894"/>
            <pc:sldLayoutMk cId="1768168439" sldId="2147483914"/>
          </pc:sldLayoutMkLst>
        </pc:sldLayoutChg>
        <pc:sldLayoutChg chg="del">
          <pc:chgData name="Michael Collier" userId="c2873510-4a44-4d85-aef3-d7e8e051fe69" providerId="ADAL" clId="{CB384C6B-A00D-433E-855E-730CF8DB42CF}" dt="2018-03-09T03:45:35.671" v="4042" actId="2696"/>
          <pc:sldLayoutMkLst>
            <pc:docMk/>
            <pc:sldMasterMk cId="1637364953" sldId="2147483894"/>
            <pc:sldLayoutMk cId="953925469" sldId="2147483915"/>
          </pc:sldLayoutMkLst>
        </pc:sldLayoutChg>
        <pc:sldLayoutChg chg="del">
          <pc:chgData name="Michael Collier" userId="c2873510-4a44-4d85-aef3-d7e8e051fe69" providerId="ADAL" clId="{CB384C6B-A00D-433E-855E-730CF8DB42CF}" dt="2018-03-09T03:45:35.691" v="4043" actId="2696"/>
          <pc:sldLayoutMkLst>
            <pc:docMk/>
            <pc:sldMasterMk cId="1637364953" sldId="2147483894"/>
            <pc:sldLayoutMk cId="3378005468" sldId="214748391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3/1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26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process like to build serverless applications?  What does the developer experience look like?</a:t>
            </a:r>
          </a:p>
          <a:p>
            <a:endParaRPr lang="en-US" dirty="0"/>
          </a:p>
          <a:p>
            <a:pPr marL="171450" indent="-171450">
              <a:buFontTx/>
              <a:buChar char="-"/>
            </a:pPr>
            <a:r>
              <a:rPr lang="en-US" dirty="0"/>
              <a:t>E2E development with Visual Studio and VS Code</a:t>
            </a:r>
          </a:p>
          <a:p>
            <a:pPr marL="171450" indent="-171450">
              <a:buFontTx/>
              <a:buChar char="-"/>
            </a:pPr>
            <a:r>
              <a:rPr lang="en-US" dirty="0"/>
              <a:t>Build, test, &amp; debug locally before deploying to the cloud</a:t>
            </a:r>
          </a:p>
          <a:p>
            <a:pPr marL="171450" indent="-171450">
              <a:buFontTx/>
              <a:buChar char="-"/>
            </a:pPr>
            <a:r>
              <a:rPr lang="en-US" dirty="0"/>
              <a:t>Continuous deployment for easy integration to existing deployment pipelines</a:t>
            </a:r>
          </a:p>
          <a:p>
            <a:pPr marL="171450" indent="-171450">
              <a:buFontTx/>
              <a:buChar char="-"/>
            </a:pPr>
            <a:r>
              <a:rPr lang="en-US" dirty="0"/>
              <a:t>Full monitoring support via Application Insights</a:t>
            </a:r>
          </a:p>
          <a:p>
            <a:pPr marL="171450" indent="-171450">
              <a:buFontTx/>
              <a:buChar char="-"/>
            </a:pPr>
            <a:endParaRPr lang="en-US" dirty="0"/>
          </a:p>
          <a:p>
            <a:pPr marL="0" indent="0">
              <a:buFontTx/>
              <a:buNone/>
            </a:pPr>
            <a:r>
              <a:rPr lang="en-US" dirty="0"/>
              <a:t>3 main serverless technologies to talk about in more detail today: Event Grid, Logic Apps, &amp; Functions.</a:t>
            </a:r>
          </a:p>
          <a:p>
            <a:pPr marL="0" indent="0">
              <a:buFontTx/>
              <a:buNone/>
            </a:pPr>
            <a:endParaRPr lang="en-US" dirty="0"/>
          </a:p>
          <a:p>
            <a:pPr marL="0" indent="0">
              <a:buFontTx/>
              <a:buNone/>
            </a:pPr>
            <a:r>
              <a:rPr lang="en-US" dirty="0"/>
              <a:t>Let’s start with Functions.</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provide an experience of responding to events through code, that in turn processes data that could be coming from or headed to any number of services.</a:t>
            </a:r>
          </a:p>
          <a:p>
            <a:endParaRPr lang="en-US" dirty="0"/>
          </a:p>
          <a:p>
            <a:r>
              <a:rPr lang="en-US" dirty="0"/>
              <a:t>Some of the key highlights are:</a:t>
            </a:r>
          </a:p>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another way, Functions </a:t>
            </a:r>
            <a:r>
              <a:rPr lang="en-US" b="1" dirty="0"/>
              <a:t>react</a:t>
            </a:r>
            <a:r>
              <a:rPr lang="en-US" b="0" dirty="0"/>
              <a:t> to events – timer event, HTTP event, or events from a wide range of Azure services.</a:t>
            </a:r>
          </a:p>
          <a:p>
            <a:endParaRPr lang="en-US" b="0" dirty="0"/>
          </a:p>
          <a:p>
            <a:r>
              <a:rPr lang="en-US" b="0" dirty="0"/>
              <a:t>You write </a:t>
            </a:r>
            <a:r>
              <a:rPr lang="en-US" b="1" dirty="0"/>
              <a:t>code</a:t>
            </a:r>
            <a:r>
              <a:rPr lang="en-US" b="0" dirty="0"/>
              <a:t> to </a:t>
            </a:r>
            <a:r>
              <a:rPr lang="en-US" b="1" dirty="0"/>
              <a:t>respond</a:t>
            </a:r>
            <a:r>
              <a:rPr lang="en-US" b="0" dirty="0"/>
              <a:t> to the event. What do you want to do now that you have the data?</a:t>
            </a:r>
          </a:p>
          <a:p>
            <a:endParaRPr lang="en-US" b="0" dirty="0"/>
          </a:p>
          <a:p>
            <a:r>
              <a:rPr lang="en-US" b="0" dirty="0"/>
              <a:t>You decide what you want to do – send it to storage, send an SMS message,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9: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9: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9: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Stateful singletons</a:t>
            </a:r>
          </a:p>
          <a:p>
            <a:r>
              <a:rPr lang="en-US" dirty="0"/>
              <a:t>5 – Human interaction</a:t>
            </a:r>
          </a:p>
          <a:p>
            <a:endParaRPr lang="en-US" dirty="0"/>
          </a:p>
          <a:p>
            <a:r>
              <a:rPr lang="en-US" dirty="0"/>
              <a:t>https://github.com/Azure/azure-functions-durable-extension/releases/tag/v1.2.0-beta3</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9: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8B7E5-BD62-4938-9F50-C9A6F31BB476}"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82265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t’s talk about another Azure Serverless component – Logic Apps.</a:t>
            </a:r>
          </a:p>
          <a:p>
            <a:pPr marL="171450" indent="-171450">
              <a:buFontTx/>
              <a:buChar char="-"/>
            </a:pPr>
            <a:r>
              <a:rPr lang="en-US" dirty="0"/>
              <a:t>Logic Apps enables you to build workflows and connections to various services without the need to write a lot of code.  It removes some of the tedious plumbing code and lets you focus on the logic.</a:t>
            </a:r>
          </a:p>
          <a:p>
            <a:pPr marL="171450" indent="-171450">
              <a:buFontTx/>
              <a:buChar char="-"/>
            </a:pPr>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pPr marL="171450" indent="-171450">
              <a:buFontTx/>
              <a:buChar char="-"/>
            </a:pPr>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entry point to Logic Apps will likely be the Workflow Design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Send </a:t>
            </a:r>
            <a:r>
              <a:rPr lang="en-US"/>
              <a:t>text messag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9: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pPr marL="171450" indent="-171450">
              <a:buFontTx/>
              <a:buChar char="-"/>
            </a:pPr>
            <a:r>
              <a:rPr lang="en-US" dirty="0"/>
              <a:t>Event Grid provides a fully-managed event routing service – all your events in one place, completely manag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ub-second e2e latency in the 99</a:t>
            </a:r>
            <a:r>
              <a:rPr lang="en-US" baseline="30000" dirty="0"/>
              <a:t>th</a:t>
            </a:r>
            <a:r>
              <a:rPr lang="en-US" dirty="0"/>
              <a:t> percentile, which is as close to real-time delivery as it gets. It also has the ability to route about 10 million events per second, so massive sca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Events for Azure services, or custom ones as well.</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of these make Event Grid a very powerful event backbone for your serverless applications.</a:t>
            </a:r>
          </a:p>
          <a:p>
            <a:pPr marL="171450" indent="-171450">
              <a:buFontTx/>
              <a:buChar char="-"/>
            </a:pPr>
            <a:endParaRPr lang="en-US" dirty="0"/>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29</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9: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9: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9: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8B7E5-BD62-4938-9F50-C9A6F31BB476}"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803607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5</a:t>
            </a:fld>
            <a:endParaRPr lang="en-US"/>
          </a:p>
        </p:txBody>
      </p:sp>
    </p:spTree>
    <p:extLst>
      <p:ext uri="{BB962C8B-B14F-4D97-AF65-F5344CB8AC3E}">
        <p14:creationId xmlns:p14="http://schemas.microsoft.com/office/powerpoint/2010/main" val="20096601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Before I talk to you about serverless, I wanted to discuss some history of how apps have been built through the years and how that has led us to the computing options we have to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n-Premises</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9:0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541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apitel gul">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8" name="Title 12"/>
          <p:cNvSpPr>
            <a:spLocks noGrp="1"/>
          </p:cNvSpPr>
          <p:nvPr>
            <p:ph type="title" hasCustomPrompt="1"/>
          </p:nvPr>
        </p:nvSpPr>
        <p:spPr>
          <a:xfrm>
            <a:off x="559192" y="3305907"/>
            <a:ext cx="5523012" cy="2278963"/>
          </a:xfrm>
        </p:spPr>
        <p:txBody>
          <a:bodyPr anchor="b"/>
          <a:lstStyle>
            <a:lvl1pPr>
              <a:lnSpc>
                <a:spcPct val="100000"/>
              </a:lnSpc>
              <a:defRPr sz="4000"/>
            </a:lvl1pPr>
          </a:lstStyle>
          <a:p>
            <a:r>
              <a:rPr lang="en-US" noProof="0" dirty="0"/>
              <a:t>Click to edit master title</a:t>
            </a:r>
          </a:p>
        </p:txBody>
      </p:sp>
      <p:sp>
        <p:nvSpPr>
          <p:cNvPr id="9"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1" name="Content Placeholder 3"/>
          <p:cNvSpPr>
            <a:spLocks noGrp="1"/>
          </p:cNvSpPr>
          <p:nvPr>
            <p:ph sz="quarter" idx="14"/>
          </p:nvPr>
        </p:nvSpPr>
        <p:spPr>
          <a:xfrm>
            <a:off x="6400555" y="1006475"/>
            <a:ext cx="5214938" cy="5268913"/>
          </a:xfrm>
        </p:spPr>
        <p:txBody>
          <a:bodyPr anchor="b"/>
          <a:lstStyle>
            <a:lvl1pPr>
              <a:buClr>
                <a:schemeClr val="bg1"/>
              </a:buClr>
              <a:defRPr/>
            </a:lvl1pPr>
            <a:lvl2pPr>
              <a:buClr>
                <a:schemeClr val="bg1"/>
              </a:buClr>
              <a:defRPr/>
            </a:lvl2pPr>
            <a:lvl3pPr>
              <a:buClr>
                <a:schemeClr val="bg1"/>
              </a:buClr>
              <a:defRPr/>
            </a:lvl3pPr>
            <a:lvl4pPr>
              <a:buClr>
                <a:schemeClr val="bg1"/>
              </a:buClr>
              <a:defRPr/>
            </a:lvl4pPr>
            <a:lvl5pPr>
              <a:buClr>
                <a:schemeClr val="bg1"/>
              </a:buClr>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16030770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apitel med bild">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Picture Placeholder 3"/>
          <p:cNvSpPr>
            <a:spLocks noGrp="1"/>
          </p:cNvSpPr>
          <p:nvPr>
            <p:ph type="pic" sz="quarter" idx="14"/>
          </p:nvPr>
        </p:nvSpPr>
        <p:spPr>
          <a:xfrm>
            <a:off x="258055" y="747713"/>
            <a:ext cx="11674638" cy="5851525"/>
          </a:xfrm>
        </p:spPr>
        <p:txBody>
          <a:bodyPr/>
          <a:lstStyle/>
          <a:p>
            <a:r>
              <a:rPr lang="sv-SE" noProof="0"/>
              <a:t>Klicka på ikonen för att lägga till en bild</a:t>
            </a:r>
            <a:endParaRPr lang="en-US" noProof="0" dirty="0"/>
          </a:p>
        </p:txBody>
      </p:sp>
      <p:sp>
        <p:nvSpPr>
          <p:cNvPr id="7"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8" name="Title 12"/>
          <p:cNvSpPr>
            <a:spLocks noGrp="1"/>
          </p:cNvSpPr>
          <p:nvPr>
            <p:ph type="title" hasCustomPrompt="1"/>
          </p:nvPr>
        </p:nvSpPr>
        <p:spPr>
          <a:xfrm>
            <a:off x="559192" y="3305907"/>
            <a:ext cx="5523012" cy="2278963"/>
          </a:xfrm>
        </p:spPr>
        <p:txBody>
          <a:bodyPr anchor="b"/>
          <a:lstStyle>
            <a:lvl1pPr>
              <a:lnSpc>
                <a:spcPct val="100000"/>
              </a:lnSpc>
              <a:defRPr sz="4000">
                <a:solidFill>
                  <a:schemeClr val="bg1"/>
                </a:solidFill>
              </a:defRPr>
            </a:lvl1pPr>
          </a:lstStyle>
          <a:p>
            <a:r>
              <a:rPr lang="en-US" noProof="0" dirty="0"/>
              <a:t>Click to edit master title</a:t>
            </a:r>
          </a:p>
        </p:txBody>
      </p:sp>
      <p:sp>
        <p:nvSpPr>
          <p:cNvPr id="9"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1" name="Content Placeholder 3"/>
          <p:cNvSpPr>
            <a:spLocks noGrp="1"/>
          </p:cNvSpPr>
          <p:nvPr>
            <p:ph sz="quarter" idx="15"/>
          </p:nvPr>
        </p:nvSpPr>
        <p:spPr>
          <a:xfrm>
            <a:off x="6400555" y="1006475"/>
            <a:ext cx="5214938" cy="5268913"/>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11994469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050" y="1077375"/>
            <a:ext cx="7391850" cy="556114"/>
          </a:xfrm>
        </p:spPr>
        <p:txBody>
          <a:bodyPr/>
          <a:lstStyle/>
          <a:p>
            <a:r>
              <a:rPr lang="en-US" noProof="0" dirty="0"/>
              <a:t>Click to edit master title</a:t>
            </a:r>
          </a:p>
        </p:txBody>
      </p:sp>
      <p:sp>
        <p:nvSpPr>
          <p:cNvPr id="3" name="Date Placeholder 2"/>
          <p:cNvSpPr>
            <a:spLocks noGrp="1"/>
          </p:cNvSpPr>
          <p:nvPr>
            <p:ph type="dt" sz="half" idx="10"/>
          </p:nvPr>
        </p:nvSpPr>
        <p:spPr/>
        <p:txBody>
          <a:bodyPr/>
          <a:lstStyle/>
          <a:p>
            <a:fld id="{CC564DCC-93F6-4626-851E-B7512A158F15}" type="datetimeFigureOut">
              <a:rPr lang="en-US" noProof="0" smtClean="0"/>
              <a:pPr/>
              <a:t>3/12/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
        <p:nvSpPr>
          <p:cNvPr id="8" name="Content Placeholder 7"/>
          <p:cNvSpPr>
            <a:spLocks noGrp="1"/>
          </p:cNvSpPr>
          <p:nvPr>
            <p:ph sz="quarter" idx="14"/>
          </p:nvPr>
        </p:nvSpPr>
        <p:spPr>
          <a:xfrm>
            <a:off x="566738" y="1828800"/>
            <a:ext cx="739616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40978194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Rubrik och två kolum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050" y="1077375"/>
            <a:ext cx="11046700" cy="556114"/>
          </a:xfrm>
        </p:spPr>
        <p:txBody>
          <a:bodyPr/>
          <a:lstStyle/>
          <a:p>
            <a:r>
              <a:rPr lang="en-US" noProof="0" dirty="0"/>
              <a:t>Click to edit master title</a:t>
            </a:r>
          </a:p>
        </p:txBody>
      </p:sp>
      <p:sp>
        <p:nvSpPr>
          <p:cNvPr id="3" name="Date Placeholder 2"/>
          <p:cNvSpPr>
            <a:spLocks noGrp="1"/>
          </p:cNvSpPr>
          <p:nvPr>
            <p:ph type="dt" sz="half" idx="10"/>
          </p:nvPr>
        </p:nvSpPr>
        <p:spPr/>
        <p:txBody>
          <a:bodyPr/>
          <a:lstStyle/>
          <a:p>
            <a:fld id="{CC564DCC-93F6-4626-851E-B7512A158F15}" type="datetimeFigureOut">
              <a:rPr lang="en-US" noProof="0" smtClean="0"/>
              <a:pPr/>
              <a:t>3/12/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
        <p:nvSpPr>
          <p:cNvPr id="8" name="Content Placeholder 7"/>
          <p:cNvSpPr>
            <a:spLocks noGrp="1"/>
          </p:cNvSpPr>
          <p:nvPr>
            <p:ph sz="quarter" idx="14"/>
          </p:nvPr>
        </p:nvSpPr>
        <p:spPr>
          <a:xfrm>
            <a:off x="566738" y="1828800"/>
            <a:ext cx="534373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9" name="Content Placeholder 7"/>
          <p:cNvSpPr>
            <a:spLocks noGrp="1"/>
          </p:cNvSpPr>
          <p:nvPr>
            <p:ph sz="quarter" idx="15"/>
          </p:nvPr>
        </p:nvSpPr>
        <p:spPr>
          <a:xfrm>
            <a:off x="6274018" y="1828800"/>
            <a:ext cx="534373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31830775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C564DCC-93F6-4626-851E-B7512A158F15}" type="datetimeFigureOut">
              <a:rPr lang="en-US" noProof="0" smtClean="0"/>
              <a:pPr/>
              <a:t>3/12/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Tree>
    <p:extLst>
      <p:ext uri="{BB962C8B-B14F-4D97-AF65-F5344CB8AC3E}">
        <p14:creationId xmlns:p14="http://schemas.microsoft.com/office/powerpoint/2010/main" val="36626265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ummering och agenda">
    <p:spTree>
      <p:nvGrpSpPr>
        <p:cNvPr id="1" name=""/>
        <p:cNvGrpSpPr/>
        <p:nvPr/>
      </p:nvGrpSpPr>
      <p:grpSpPr>
        <a:xfrm>
          <a:off x="0" y="0"/>
          <a:ext cx="0" cy="0"/>
          <a:chOff x="0" y="0"/>
          <a:chExt cx="0" cy="0"/>
        </a:xfrm>
      </p:grpSpPr>
      <p:sp>
        <p:nvSpPr>
          <p:cNvPr id="23" name="Rectangle 22"/>
          <p:cNvSpPr/>
          <p:nvPr userDrawn="1"/>
        </p:nvSpPr>
        <p:spPr>
          <a:xfrm>
            <a:off x="6079524" y="746975"/>
            <a:ext cx="585442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Picture Placeholder 21"/>
          <p:cNvSpPr>
            <a:spLocks noGrp="1"/>
          </p:cNvSpPr>
          <p:nvPr>
            <p:ph type="pic" sz="quarter" idx="17"/>
          </p:nvPr>
        </p:nvSpPr>
        <p:spPr>
          <a:xfrm>
            <a:off x="6079401" y="733723"/>
            <a:ext cx="5853113" cy="5870575"/>
          </a:xfrm>
        </p:spPr>
        <p:txBody>
          <a:bodyPr/>
          <a:lstStyle/>
          <a:p>
            <a:pPr marL="180000" marR="0" lvl="0" indent="-180000" algn="l" defTabSz="914400" rtl="0" eaLnBrk="1" fontAlgn="auto" latinLnBrk="0" hangingPunct="1">
              <a:lnSpc>
                <a:spcPts val="2500"/>
              </a:lnSpc>
              <a:spcBef>
                <a:spcPts val="0"/>
              </a:spcBef>
              <a:spcAft>
                <a:spcPts val="0"/>
              </a:spcAft>
              <a:buClr>
                <a:schemeClr val="accent2"/>
              </a:buClr>
              <a:buSzTx/>
              <a:buFont typeface="Wingdings" charset="2"/>
              <a:buNone/>
              <a:tabLst/>
              <a:defRPr/>
            </a:pPr>
            <a:r>
              <a:rPr lang="sv-SE" noProof="0"/>
              <a:t>Klicka på ikonen för att lägga till en bild</a:t>
            </a:r>
            <a:endParaRPr lang="en-US" noProof="0" dirty="0"/>
          </a:p>
        </p:txBody>
      </p:sp>
      <p:sp>
        <p:nvSpPr>
          <p:cNvPr id="2" name="Title 1"/>
          <p:cNvSpPr>
            <a:spLocks noGrp="1"/>
          </p:cNvSpPr>
          <p:nvPr>
            <p:ph type="title" hasCustomPrompt="1"/>
          </p:nvPr>
        </p:nvSpPr>
        <p:spPr>
          <a:xfrm>
            <a:off x="553874" y="1079500"/>
            <a:ext cx="5059405" cy="1087312"/>
          </a:xfrm>
        </p:spPr>
        <p:txBody>
          <a:bodyPr anchor="b"/>
          <a:lstStyle>
            <a:lvl1pPr>
              <a:lnSpc>
                <a:spcPct val="100000"/>
              </a:lnSpc>
              <a:defRPr/>
            </a:lvl1pPr>
          </a:lstStyle>
          <a:p>
            <a:r>
              <a:rPr lang="en-US" noProof="0" dirty="0"/>
              <a:t>Click to edit master title</a:t>
            </a:r>
          </a:p>
        </p:txBody>
      </p:sp>
      <p:sp>
        <p:nvSpPr>
          <p:cNvPr id="14" name="Underrubrik 2"/>
          <p:cNvSpPr>
            <a:spLocks noGrp="1"/>
          </p:cNvSpPr>
          <p:nvPr>
            <p:ph type="subTitle" idx="1" hasCustomPrompt="1"/>
          </p:nvPr>
        </p:nvSpPr>
        <p:spPr>
          <a:xfrm>
            <a:off x="553874" y="2217612"/>
            <a:ext cx="5059405" cy="236128"/>
          </a:xfrm>
        </p:spPr>
        <p:txBody>
          <a:bodyPr anchor="t">
            <a:noAutofit/>
          </a:bodyPr>
          <a:lstStyle>
            <a:lvl1pPr marL="0" indent="0" algn="l">
              <a:lnSpc>
                <a:spcPct val="100000"/>
              </a:lnSpc>
              <a:buNone/>
              <a:defRPr sz="1000" cap="all" spc="3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2" name="Text Placeholder 11"/>
          <p:cNvSpPr>
            <a:spLocks noGrp="1"/>
          </p:cNvSpPr>
          <p:nvPr>
            <p:ph type="body" sz="quarter" idx="10"/>
          </p:nvPr>
        </p:nvSpPr>
        <p:spPr>
          <a:xfrm>
            <a:off x="554038" y="2628900"/>
            <a:ext cx="5059362" cy="363220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18" name="Text Placeholder 15"/>
          <p:cNvSpPr>
            <a:spLocks noGrp="1"/>
          </p:cNvSpPr>
          <p:nvPr>
            <p:ph type="body" sz="quarter" idx="14" hasCustomPrompt="1"/>
          </p:nvPr>
        </p:nvSpPr>
        <p:spPr>
          <a:xfrm>
            <a:off x="6079522" y="2990695"/>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9" name="Text Placeholder 15"/>
          <p:cNvSpPr>
            <a:spLocks noGrp="1"/>
          </p:cNvSpPr>
          <p:nvPr>
            <p:ph type="body" sz="quarter" idx="15" hasCustomPrompt="1"/>
          </p:nvPr>
        </p:nvSpPr>
        <p:spPr>
          <a:xfrm>
            <a:off x="6079522" y="3235204"/>
            <a:ext cx="5854422" cy="276130"/>
          </a:xfrm>
        </p:spPr>
        <p:txBody>
          <a:bodyPr anchor="b"/>
          <a:lstStyle>
            <a:lvl1pPr marL="0" indent="0" algn="ctr">
              <a:buNone/>
              <a:defRPr sz="1000" b="0" cap="all" spc="30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0" name="Text Placeholder 19"/>
          <p:cNvSpPr>
            <a:spLocks noGrp="1"/>
          </p:cNvSpPr>
          <p:nvPr>
            <p:ph type="body" sz="quarter" idx="16" hasCustomPrompt="1"/>
          </p:nvPr>
        </p:nvSpPr>
        <p:spPr>
          <a:xfrm>
            <a:off x="6079522" y="3620004"/>
            <a:ext cx="5853113" cy="685800"/>
          </a:xfrm>
        </p:spPr>
        <p:txBody>
          <a:bodyPr/>
          <a:lstStyle>
            <a:lvl1pPr marL="0" indent="0" algn="ctr">
              <a:lnSpc>
                <a:spcPct val="100000"/>
              </a:lnSpc>
              <a:buNone/>
              <a:defRPr sz="3200" b="0" i="0" baseline="0">
                <a:solidFill>
                  <a:schemeClr val="bg1"/>
                </a:solidFill>
                <a:latin typeface="Rockwell Std Light" charset="0"/>
                <a:ea typeface="Rockwell Std Light" charset="0"/>
                <a:cs typeface="Rockwell Std Light" charset="0"/>
              </a:defRPr>
            </a:lvl1pPr>
            <a:lvl2pPr marL="457200" indent="0" algn="ctr">
              <a:lnSpc>
                <a:spcPct val="100000"/>
              </a:lnSpc>
              <a:buNone/>
              <a:defRPr sz="3200" b="0" i="0">
                <a:latin typeface="Rockwell Std Light" charset="0"/>
                <a:ea typeface="Rockwell Std Light" charset="0"/>
                <a:cs typeface="Rockwell Std Light" charset="0"/>
              </a:defRPr>
            </a:lvl2pPr>
            <a:lvl3pPr marL="914400" indent="0" algn="ctr">
              <a:lnSpc>
                <a:spcPct val="100000"/>
              </a:lnSpc>
              <a:buNone/>
              <a:defRPr sz="3200" b="0" i="0">
                <a:latin typeface="Rockwell Std Light" charset="0"/>
                <a:ea typeface="Rockwell Std Light" charset="0"/>
                <a:cs typeface="Rockwell Std Light" charset="0"/>
              </a:defRPr>
            </a:lvl3pPr>
            <a:lvl4pPr marL="1371600" indent="0" algn="ctr">
              <a:lnSpc>
                <a:spcPct val="100000"/>
              </a:lnSpc>
              <a:buNone/>
              <a:defRPr sz="3200" b="0" i="0">
                <a:latin typeface="Rockwell Std Light" charset="0"/>
                <a:ea typeface="Rockwell Std Light" charset="0"/>
                <a:cs typeface="Rockwell Std Light" charset="0"/>
              </a:defRPr>
            </a:lvl4pPr>
            <a:lvl5pPr marL="1828800" indent="0" algn="ctr">
              <a:lnSpc>
                <a:spcPct val="100000"/>
              </a:lnSpc>
              <a:buNone/>
              <a:defRPr sz="3200" b="0" i="0">
                <a:latin typeface="Rockwell Std Light" charset="0"/>
                <a:ea typeface="Rockwell Std Light" charset="0"/>
                <a:cs typeface="Rockwell Std Light" charset="0"/>
              </a:defRPr>
            </a:lvl5pPr>
          </a:lstStyle>
          <a:p>
            <a:pPr lvl="0"/>
            <a:r>
              <a:rPr lang="en-US" noProof="0" dirty="0"/>
              <a:t>Click to edit presentation title</a:t>
            </a:r>
          </a:p>
        </p:txBody>
      </p:sp>
    </p:spTree>
    <p:extLst>
      <p:ext uri="{BB962C8B-B14F-4D97-AF65-F5344CB8AC3E}">
        <p14:creationId xmlns:p14="http://schemas.microsoft.com/office/powerpoint/2010/main" val="38178958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orkshopövning">
    <p:spTree>
      <p:nvGrpSpPr>
        <p:cNvPr id="1" name=""/>
        <p:cNvGrpSpPr/>
        <p:nvPr/>
      </p:nvGrpSpPr>
      <p:grpSpPr>
        <a:xfrm>
          <a:off x="0" y="0"/>
          <a:ext cx="0" cy="0"/>
          <a:chOff x="0" y="0"/>
          <a:chExt cx="0" cy="0"/>
        </a:xfrm>
      </p:grpSpPr>
      <p:sp>
        <p:nvSpPr>
          <p:cNvPr id="23" name="Rectangle 22"/>
          <p:cNvSpPr/>
          <p:nvPr userDrawn="1"/>
        </p:nvSpPr>
        <p:spPr>
          <a:xfrm>
            <a:off x="6079524" y="746975"/>
            <a:ext cx="585442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p:cNvSpPr>
            <a:spLocks noGrp="1"/>
          </p:cNvSpPr>
          <p:nvPr>
            <p:ph type="title" hasCustomPrompt="1"/>
          </p:nvPr>
        </p:nvSpPr>
        <p:spPr>
          <a:xfrm>
            <a:off x="553874" y="3810000"/>
            <a:ext cx="5059405" cy="1791670"/>
          </a:xfrm>
        </p:spPr>
        <p:txBody>
          <a:bodyPr anchor="b"/>
          <a:lstStyle>
            <a:lvl1pPr>
              <a:lnSpc>
                <a:spcPct val="100000"/>
              </a:lnSpc>
              <a:defRPr/>
            </a:lvl1pPr>
          </a:lstStyle>
          <a:p>
            <a:r>
              <a:rPr lang="en-US" noProof="0" dirty="0"/>
              <a:t>Click to edit master title</a:t>
            </a:r>
          </a:p>
        </p:txBody>
      </p:sp>
      <p:sp>
        <p:nvSpPr>
          <p:cNvPr id="12" name="Text Placeholder 11"/>
          <p:cNvSpPr>
            <a:spLocks noGrp="1"/>
          </p:cNvSpPr>
          <p:nvPr>
            <p:ph type="body" sz="quarter" idx="10"/>
          </p:nvPr>
        </p:nvSpPr>
        <p:spPr>
          <a:xfrm>
            <a:off x="6400799" y="1623156"/>
            <a:ext cx="5214551" cy="471154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15" name="Text Placeholder 15"/>
          <p:cNvSpPr>
            <a:spLocks noGrp="1"/>
          </p:cNvSpPr>
          <p:nvPr>
            <p:ph type="body" sz="quarter" idx="14" hasCustomPrompt="1"/>
          </p:nvPr>
        </p:nvSpPr>
        <p:spPr>
          <a:xfrm>
            <a:off x="553874" y="5864191"/>
            <a:ext cx="5059405" cy="225996"/>
          </a:xfrm>
        </p:spPr>
        <p:txBody>
          <a:bodyPr anchor="b"/>
          <a:lstStyle>
            <a:lvl1pPr marL="0" indent="0" algn="l">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workshop section</a:t>
            </a:r>
          </a:p>
        </p:txBody>
      </p:sp>
      <p:sp>
        <p:nvSpPr>
          <p:cNvPr id="16" name="Text Placeholder 15"/>
          <p:cNvSpPr>
            <a:spLocks noGrp="1"/>
          </p:cNvSpPr>
          <p:nvPr>
            <p:ph type="body" sz="quarter" idx="15" hasCustomPrompt="1"/>
          </p:nvPr>
        </p:nvSpPr>
        <p:spPr>
          <a:xfrm>
            <a:off x="553874" y="6120684"/>
            <a:ext cx="5059405" cy="225996"/>
          </a:xfrm>
        </p:spPr>
        <p:txBody>
          <a:bodyPr anchor="t"/>
          <a:lstStyle>
            <a:lvl1pPr marL="0" indent="0" algn="l">
              <a:lnSpc>
                <a:spcPct val="100000"/>
              </a:lnSpc>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EXERCISE NUMBER </a:t>
            </a:r>
          </a:p>
        </p:txBody>
      </p:sp>
      <p:sp>
        <p:nvSpPr>
          <p:cNvPr id="17" name="Text Placeholder 15"/>
          <p:cNvSpPr>
            <a:spLocks noGrp="1"/>
          </p:cNvSpPr>
          <p:nvPr>
            <p:ph type="body" sz="quarter" idx="16" hasCustomPrompt="1"/>
          </p:nvPr>
        </p:nvSpPr>
        <p:spPr>
          <a:xfrm>
            <a:off x="6400799" y="1064475"/>
            <a:ext cx="5214551" cy="278220"/>
          </a:xfrm>
        </p:spPr>
        <p:txBody>
          <a:bodyPr anchor="b"/>
          <a:lstStyle>
            <a:lvl1pPr marL="0" indent="0" algn="ctr">
              <a:buNone/>
              <a:defRPr sz="1600" b="1" cap="all"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INSTRUCTIONS TITLE</a:t>
            </a:r>
          </a:p>
        </p:txBody>
      </p:sp>
    </p:spTree>
    <p:extLst>
      <p:ext uri="{BB962C8B-B14F-4D97-AF65-F5344CB8AC3E}">
        <p14:creationId xmlns:p14="http://schemas.microsoft.com/office/powerpoint/2010/main" val="14661318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 viktiga punkter">
    <p:spTree>
      <p:nvGrpSpPr>
        <p:cNvPr id="1" name=""/>
        <p:cNvGrpSpPr/>
        <p:nvPr/>
      </p:nvGrpSpPr>
      <p:grpSpPr>
        <a:xfrm>
          <a:off x="0" y="0"/>
          <a:ext cx="0" cy="0"/>
          <a:chOff x="0" y="0"/>
          <a:chExt cx="0" cy="0"/>
        </a:xfrm>
      </p:grpSpPr>
      <p:sp>
        <p:nvSpPr>
          <p:cNvPr id="8" name="Rectangle 7"/>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44" name="Platshållare för bild 10"/>
          <p:cNvSpPr>
            <a:spLocks noGrp="1"/>
          </p:cNvSpPr>
          <p:nvPr>
            <p:ph type="pic" sz="quarter" idx="13" hasCustomPrompt="1"/>
          </p:nvPr>
        </p:nvSpPr>
        <p:spPr>
          <a:xfrm>
            <a:off x="2107234" y="2540662"/>
            <a:ext cx="1756599" cy="1756599"/>
          </a:xfrm>
          <a:prstGeom prst="ellipse">
            <a:avLst/>
          </a:prstGeom>
        </p:spPr>
        <p:txBody>
          <a:bodyPr>
            <a:normAutofit/>
          </a:bodyPr>
          <a:lstStyle>
            <a:lvl1pPr marL="0" indent="0">
              <a:buNone/>
              <a:defRPr sz="800"/>
            </a:lvl1pPr>
          </a:lstStyle>
          <a:p>
            <a:r>
              <a:rPr lang="en-US" noProof="0" dirty="0"/>
              <a:t> </a:t>
            </a:r>
          </a:p>
        </p:txBody>
      </p:sp>
      <p:sp>
        <p:nvSpPr>
          <p:cNvPr id="45" name="Platshållare för bild 10"/>
          <p:cNvSpPr>
            <a:spLocks noGrp="1"/>
          </p:cNvSpPr>
          <p:nvPr>
            <p:ph type="pic" sz="quarter" idx="14" hasCustomPrompt="1"/>
          </p:nvPr>
        </p:nvSpPr>
        <p:spPr>
          <a:xfrm>
            <a:off x="5206143" y="2540662"/>
            <a:ext cx="1756599" cy="1756599"/>
          </a:xfrm>
          <a:prstGeom prst="ellipse">
            <a:avLst/>
          </a:prstGeom>
        </p:spPr>
        <p:txBody>
          <a:bodyPr>
            <a:normAutofit/>
          </a:bodyPr>
          <a:lstStyle>
            <a:lvl1pPr marL="0" indent="0">
              <a:buNone/>
              <a:defRPr sz="800"/>
            </a:lvl1pPr>
          </a:lstStyle>
          <a:p>
            <a:r>
              <a:rPr lang="en-US" noProof="0" dirty="0"/>
              <a:t> </a:t>
            </a:r>
          </a:p>
        </p:txBody>
      </p:sp>
      <p:sp>
        <p:nvSpPr>
          <p:cNvPr id="46" name="Platshållare för bild 10"/>
          <p:cNvSpPr>
            <a:spLocks noGrp="1"/>
          </p:cNvSpPr>
          <p:nvPr>
            <p:ph type="pic" sz="quarter" idx="15" hasCustomPrompt="1"/>
          </p:nvPr>
        </p:nvSpPr>
        <p:spPr>
          <a:xfrm>
            <a:off x="8266192" y="2540662"/>
            <a:ext cx="1756599" cy="1756599"/>
          </a:xfrm>
          <a:prstGeom prst="ellipse">
            <a:avLst/>
          </a:prstGeom>
        </p:spPr>
        <p:txBody>
          <a:bodyPr>
            <a:normAutofit/>
          </a:bodyPr>
          <a:lstStyle>
            <a:lvl1pPr marL="0" indent="0">
              <a:buNone/>
              <a:defRPr sz="800"/>
            </a:lvl1pPr>
          </a:lstStyle>
          <a:p>
            <a:r>
              <a:rPr lang="en-US" noProof="0" dirty="0"/>
              <a:t> </a:t>
            </a:r>
          </a:p>
        </p:txBody>
      </p:sp>
      <p:sp>
        <p:nvSpPr>
          <p:cNvPr id="3" name="Title 2"/>
          <p:cNvSpPr>
            <a:spLocks noGrp="1"/>
          </p:cNvSpPr>
          <p:nvPr>
            <p:ph type="title" hasCustomPrompt="1"/>
          </p:nvPr>
        </p:nvSpPr>
        <p:spPr>
          <a:xfrm>
            <a:off x="571050" y="1636953"/>
            <a:ext cx="11025900" cy="556114"/>
          </a:xfrm>
        </p:spPr>
        <p:txBody>
          <a:bodyPr/>
          <a:lstStyle>
            <a:lvl1pPr algn="ctr">
              <a:defRPr/>
            </a:lvl1pPr>
          </a:lstStyle>
          <a:p>
            <a:r>
              <a:rPr lang="en-US" noProof="0" dirty="0"/>
              <a:t>Click to edit master title</a:t>
            </a:r>
          </a:p>
        </p:txBody>
      </p:sp>
      <p:sp>
        <p:nvSpPr>
          <p:cNvPr id="48" name="Text Placeholder 15"/>
          <p:cNvSpPr>
            <a:spLocks noGrp="1"/>
          </p:cNvSpPr>
          <p:nvPr>
            <p:ph type="body" sz="quarter" idx="17" hasCustomPrompt="1"/>
          </p:nvPr>
        </p:nvSpPr>
        <p:spPr>
          <a:xfrm>
            <a:off x="16764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1" name="Text Placeholder 15"/>
          <p:cNvSpPr>
            <a:spLocks noGrp="1"/>
          </p:cNvSpPr>
          <p:nvPr>
            <p:ph type="body" sz="quarter" idx="18" hasCustomPrompt="1"/>
          </p:nvPr>
        </p:nvSpPr>
        <p:spPr>
          <a:xfrm>
            <a:off x="47752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2" name="Text Placeholder 15"/>
          <p:cNvSpPr>
            <a:spLocks noGrp="1"/>
          </p:cNvSpPr>
          <p:nvPr>
            <p:ph type="body" sz="quarter" idx="19" hasCustomPrompt="1"/>
          </p:nvPr>
        </p:nvSpPr>
        <p:spPr>
          <a:xfrm>
            <a:off x="47752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3" name="Text Placeholder 15"/>
          <p:cNvSpPr>
            <a:spLocks noGrp="1"/>
          </p:cNvSpPr>
          <p:nvPr>
            <p:ph type="body" sz="quarter" idx="20" hasCustomPrompt="1"/>
          </p:nvPr>
        </p:nvSpPr>
        <p:spPr>
          <a:xfrm>
            <a:off x="78359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4" name="Text Placeholder 15"/>
          <p:cNvSpPr>
            <a:spLocks noGrp="1"/>
          </p:cNvSpPr>
          <p:nvPr>
            <p:ph type="body" sz="quarter" idx="21" hasCustomPrompt="1"/>
          </p:nvPr>
        </p:nvSpPr>
        <p:spPr>
          <a:xfrm>
            <a:off x="78359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Tree>
    <p:extLst>
      <p:ext uri="{BB962C8B-B14F-4D97-AF65-F5344CB8AC3E}">
        <p14:creationId xmlns:p14="http://schemas.microsoft.com/office/powerpoint/2010/main" val="30183232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re viktiga punkter med bild">
    <p:spTree>
      <p:nvGrpSpPr>
        <p:cNvPr id="1" name=""/>
        <p:cNvGrpSpPr/>
        <p:nvPr/>
      </p:nvGrpSpPr>
      <p:grpSpPr>
        <a:xfrm>
          <a:off x="0" y="0"/>
          <a:ext cx="0" cy="0"/>
          <a:chOff x="0" y="0"/>
          <a:chExt cx="0" cy="0"/>
        </a:xfrm>
      </p:grpSpPr>
      <p:sp>
        <p:nvSpPr>
          <p:cNvPr id="17" name="Rectangle 16"/>
          <p:cNvSpPr/>
          <p:nvPr userDrawn="1"/>
        </p:nvSpPr>
        <p:spPr>
          <a:xfrm>
            <a:off x="0" y="0"/>
            <a:ext cx="12192000" cy="6870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13"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 name="Oval 1"/>
          <p:cNvSpPr/>
          <p:nvPr userDrawn="1"/>
        </p:nvSpPr>
        <p:spPr>
          <a:xfrm>
            <a:off x="2107234"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Oval 24"/>
          <p:cNvSpPr/>
          <p:nvPr userDrawn="1"/>
        </p:nvSpPr>
        <p:spPr>
          <a:xfrm>
            <a:off x="5206143"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6" name="Oval 25"/>
          <p:cNvSpPr/>
          <p:nvPr userDrawn="1"/>
        </p:nvSpPr>
        <p:spPr>
          <a:xfrm>
            <a:off x="8266192"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Platshållare för bild 10"/>
          <p:cNvSpPr>
            <a:spLocks noGrp="1"/>
          </p:cNvSpPr>
          <p:nvPr>
            <p:ph type="pic" sz="quarter" idx="17" hasCustomPrompt="1"/>
          </p:nvPr>
        </p:nvSpPr>
        <p:spPr>
          <a:xfrm>
            <a:off x="2107234" y="2540662"/>
            <a:ext cx="1756599" cy="1756599"/>
          </a:xfrm>
          <a:prstGeom prst="ellipse">
            <a:avLst/>
          </a:prstGeom>
        </p:spPr>
        <p:txBody>
          <a:bodyPr>
            <a:normAutofit/>
          </a:bodyPr>
          <a:lstStyle>
            <a:lvl1pPr marL="0" indent="0">
              <a:buNone/>
              <a:defRPr sz="800"/>
            </a:lvl1pPr>
          </a:lstStyle>
          <a:p>
            <a:r>
              <a:rPr lang="en-US" noProof="0" dirty="0"/>
              <a:t> </a:t>
            </a:r>
          </a:p>
        </p:txBody>
      </p:sp>
      <p:sp>
        <p:nvSpPr>
          <p:cNvPr id="15" name="Platshållare för bild 10"/>
          <p:cNvSpPr>
            <a:spLocks noGrp="1"/>
          </p:cNvSpPr>
          <p:nvPr>
            <p:ph type="pic" sz="quarter" idx="14" hasCustomPrompt="1"/>
          </p:nvPr>
        </p:nvSpPr>
        <p:spPr>
          <a:xfrm>
            <a:off x="5206143" y="2540662"/>
            <a:ext cx="1756599" cy="1756599"/>
          </a:xfrm>
          <a:prstGeom prst="ellipse">
            <a:avLst/>
          </a:prstGeom>
        </p:spPr>
        <p:txBody>
          <a:bodyPr>
            <a:normAutofit/>
          </a:bodyPr>
          <a:lstStyle>
            <a:lvl1pPr marL="0" indent="0">
              <a:buNone/>
              <a:defRPr sz="800"/>
            </a:lvl1pPr>
          </a:lstStyle>
          <a:p>
            <a:r>
              <a:rPr lang="en-US" noProof="0" dirty="0"/>
              <a:t> </a:t>
            </a:r>
          </a:p>
        </p:txBody>
      </p:sp>
      <p:sp>
        <p:nvSpPr>
          <p:cNvPr id="16" name="Platshållare för bild 10"/>
          <p:cNvSpPr>
            <a:spLocks noGrp="1"/>
          </p:cNvSpPr>
          <p:nvPr>
            <p:ph type="pic" sz="quarter" idx="15" hasCustomPrompt="1"/>
          </p:nvPr>
        </p:nvSpPr>
        <p:spPr>
          <a:xfrm>
            <a:off x="8266192" y="2540662"/>
            <a:ext cx="1756599" cy="1756599"/>
          </a:xfrm>
          <a:prstGeom prst="ellipse">
            <a:avLst/>
          </a:prstGeom>
        </p:spPr>
        <p:txBody>
          <a:bodyPr>
            <a:normAutofit/>
          </a:bodyPr>
          <a:lstStyle>
            <a:lvl1pPr marL="0" indent="0">
              <a:buNone/>
              <a:defRPr sz="800"/>
            </a:lvl1pPr>
          </a:lstStyle>
          <a:p>
            <a:r>
              <a:rPr lang="en-US" noProof="0" dirty="0"/>
              <a:t> </a:t>
            </a:r>
          </a:p>
        </p:txBody>
      </p:sp>
      <p:sp>
        <p:nvSpPr>
          <p:cNvPr id="19" name="Title 2"/>
          <p:cNvSpPr>
            <a:spLocks noGrp="1"/>
          </p:cNvSpPr>
          <p:nvPr>
            <p:ph type="title" hasCustomPrompt="1"/>
          </p:nvPr>
        </p:nvSpPr>
        <p:spPr>
          <a:xfrm>
            <a:off x="571050" y="1636953"/>
            <a:ext cx="11025900" cy="556114"/>
          </a:xfrm>
        </p:spPr>
        <p:txBody>
          <a:bodyPr/>
          <a:lstStyle>
            <a:lvl1pPr algn="ctr">
              <a:defRPr>
                <a:solidFill>
                  <a:schemeClr val="bg1"/>
                </a:solidFill>
              </a:defRPr>
            </a:lvl1pPr>
          </a:lstStyle>
          <a:p>
            <a:r>
              <a:rPr lang="en-US" noProof="0" dirty="0"/>
              <a:t>Click to edit master title</a:t>
            </a:r>
          </a:p>
        </p:txBody>
      </p:sp>
      <p:sp>
        <p:nvSpPr>
          <p:cNvPr id="20" name="Text Placeholder 15"/>
          <p:cNvSpPr>
            <a:spLocks noGrp="1"/>
          </p:cNvSpPr>
          <p:nvPr>
            <p:ph type="body" sz="quarter" idx="18" hasCustomPrompt="1"/>
          </p:nvPr>
        </p:nvSpPr>
        <p:spPr>
          <a:xfrm>
            <a:off x="16764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1" name="Text Placeholder 15"/>
          <p:cNvSpPr>
            <a:spLocks noGrp="1"/>
          </p:cNvSpPr>
          <p:nvPr>
            <p:ph type="body" sz="quarter" idx="19" hasCustomPrompt="1"/>
          </p:nvPr>
        </p:nvSpPr>
        <p:spPr>
          <a:xfrm>
            <a:off x="47752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2" name="Text Placeholder 15"/>
          <p:cNvSpPr>
            <a:spLocks noGrp="1"/>
          </p:cNvSpPr>
          <p:nvPr>
            <p:ph type="body" sz="quarter" idx="20" hasCustomPrompt="1"/>
          </p:nvPr>
        </p:nvSpPr>
        <p:spPr>
          <a:xfrm>
            <a:off x="47752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3" name="Text Placeholder 15"/>
          <p:cNvSpPr>
            <a:spLocks noGrp="1"/>
          </p:cNvSpPr>
          <p:nvPr>
            <p:ph type="body" sz="quarter" idx="21" hasCustomPrompt="1"/>
          </p:nvPr>
        </p:nvSpPr>
        <p:spPr>
          <a:xfrm>
            <a:off x="78359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4" name="Text Placeholder 15"/>
          <p:cNvSpPr>
            <a:spLocks noGrp="1"/>
          </p:cNvSpPr>
          <p:nvPr>
            <p:ph type="body" sz="quarter" idx="22" hasCustomPrompt="1"/>
          </p:nvPr>
        </p:nvSpPr>
        <p:spPr>
          <a:xfrm>
            <a:off x="78359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Tree>
    <p:extLst>
      <p:ext uri="{BB962C8B-B14F-4D97-AF65-F5344CB8AC3E}">
        <p14:creationId xmlns:p14="http://schemas.microsoft.com/office/powerpoint/2010/main" val="20797273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 viktiga punkter med siffror">
    <p:spTree>
      <p:nvGrpSpPr>
        <p:cNvPr id="1" name=""/>
        <p:cNvGrpSpPr/>
        <p:nvPr/>
      </p:nvGrpSpPr>
      <p:grpSpPr>
        <a:xfrm>
          <a:off x="0" y="0"/>
          <a:ext cx="0" cy="0"/>
          <a:chOff x="0" y="0"/>
          <a:chExt cx="0" cy="0"/>
        </a:xfrm>
      </p:grpSpPr>
      <p:sp>
        <p:nvSpPr>
          <p:cNvPr id="8" name="Rectangle 7"/>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3" name="Title 2"/>
          <p:cNvSpPr>
            <a:spLocks noGrp="1"/>
          </p:cNvSpPr>
          <p:nvPr>
            <p:ph type="title" hasCustomPrompt="1"/>
          </p:nvPr>
        </p:nvSpPr>
        <p:spPr>
          <a:xfrm>
            <a:off x="571050" y="1636953"/>
            <a:ext cx="11025900" cy="556114"/>
          </a:xfrm>
        </p:spPr>
        <p:txBody>
          <a:bodyPr/>
          <a:lstStyle>
            <a:lvl1pPr algn="ctr">
              <a:defRPr/>
            </a:lvl1pPr>
          </a:lstStyle>
          <a:p>
            <a:r>
              <a:rPr lang="en-US" noProof="0" dirty="0"/>
              <a:t>Click to edit master title</a:t>
            </a:r>
          </a:p>
        </p:txBody>
      </p:sp>
      <p:sp>
        <p:nvSpPr>
          <p:cNvPr id="48" name="Text Placeholder 15"/>
          <p:cNvSpPr>
            <a:spLocks noGrp="1"/>
          </p:cNvSpPr>
          <p:nvPr>
            <p:ph type="body" sz="quarter" idx="17" hasCustomPrompt="1"/>
          </p:nvPr>
        </p:nvSpPr>
        <p:spPr>
          <a:xfrm>
            <a:off x="16764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1" name="Text Placeholder 15"/>
          <p:cNvSpPr>
            <a:spLocks noGrp="1"/>
          </p:cNvSpPr>
          <p:nvPr>
            <p:ph type="body" sz="quarter" idx="18" hasCustomPrompt="1"/>
          </p:nvPr>
        </p:nvSpPr>
        <p:spPr>
          <a:xfrm>
            <a:off x="47752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2" name="Text Placeholder 15"/>
          <p:cNvSpPr>
            <a:spLocks noGrp="1"/>
          </p:cNvSpPr>
          <p:nvPr>
            <p:ph type="body" sz="quarter" idx="19" hasCustomPrompt="1"/>
          </p:nvPr>
        </p:nvSpPr>
        <p:spPr>
          <a:xfrm>
            <a:off x="47752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3" name="Text Placeholder 15"/>
          <p:cNvSpPr>
            <a:spLocks noGrp="1"/>
          </p:cNvSpPr>
          <p:nvPr>
            <p:ph type="body" sz="quarter" idx="20" hasCustomPrompt="1"/>
          </p:nvPr>
        </p:nvSpPr>
        <p:spPr>
          <a:xfrm>
            <a:off x="78359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4" name="Text Placeholder 15"/>
          <p:cNvSpPr>
            <a:spLocks noGrp="1"/>
          </p:cNvSpPr>
          <p:nvPr>
            <p:ph type="body" sz="quarter" idx="21" hasCustomPrompt="1"/>
          </p:nvPr>
        </p:nvSpPr>
        <p:spPr>
          <a:xfrm>
            <a:off x="78359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13" name="Oval 12"/>
          <p:cNvSpPr/>
          <p:nvPr userDrawn="1"/>
        </p:nvSpPr>
        <p:spPr>
          <a:xfrm>
            <a:off x="2111370"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1</a:t>
            </a:r>
          </a:p>
        </p:txBody>
      </p:sp>
      <p:sp>
        <p:nvSpPr>
          <p:cNvPr id="14" name="Oval 13"/>
          <p:cNvSpPr/>
          <p:nvPr userDrawn="1"/>
        </p:nvSpPr>
        <p:spPr>
          <a:xfrm>
            <a:off x="5201929"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2</a:t>
            </a:r>
          </a:p>
        </p:txBody>
      </p:sp>
      <p:sp>
        <p:nvSpPr>
          <p:cNvPr id="15" name="Oval 14"/>
          <p:cNvSpPr/>
          <p:nvPr userDrawn="1"/>
        </p:nvSpPr>
        <p:spPr>
          <a:xfrm>
            <a:off x="8219392"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3</a:t>
            </a:r>
          </a:p>
        </p:txBody>
      </p:sp>
    </p:spTree>
    <p:extLst>
      <p:ext uri="{BB962C8B-B14F-4D97-AF65-F5344CB8AC3E}">
        <p14:creationId xmlns:p14="http://schemas.microsoft.com/office/powerpoint/2010/main" val="204780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kärmdump Desktop">
    <p:spTree>
      <p:nvGrpSpPr>
        <p:cNvPr id="1" name=""/>
        <p:cNvGrpSpPr/>
        <p:nvPr/>
      </p:nvGrpSpPr>
      <p:grpSpPr>
        <a:xfrm>
          <a:off x="0" y="0"/>
          <a:ext cx="0" cy="0"/>
          <a:chOff x="0" y="0"/>
          <a:chExt cx="0" cy="0"/>
        </a:xfrm>
      </p:grpSpPr>
      <p:sp>
        <p:nvSpPr>
          <p:cNvPr id="16" name="Rectangle 1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8" name="Group 17"/>
          <p:cNvGrpSpPr/>
          <p:nvPr userDrawn="1"/>
        </p:nvGrpSpPr>
        <p:grpSpPr>
          <a:xfrm>
            <a:off x="2094573" y="2509899"/>
            <a:ext cx="8002853" cy="4348101"/>
            <a:chOff x="2094573" y="2571684"/>
            <a:chExt cx="8002853" cy="4348101"/>
          </a:xfrm>
        </p:grpSpPr>
        <p:sp>
          <p:nvSpPr>
            <p:cNvPr id="19" name="Rectangle 18"/>
            <p:cNvSpPr/>
            <p:nvPr/>
          </p:nvSpPr>
          <p:spPr>
            <a:xfrm>
              <a:off x="2094573" y="2872287"/>
              <a:ext cx="8002853" cy="4047498"/>
            </a:xfrm>
            <a:prstGeom prst="rect">
              <a:avLst/>
            </a:prstGeom>
            <a:solidFill>
              <a:schemeClr val="bg1"/>
            </a:solidFill>
            <a:ln>
              <a:noFill/>
            </a:ln>
            <a:effectLst>
              <a:outerShdw blurRad="673100" sx="101000" sy="101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0" name="Group 19"/>
            <p:cNvGrpSpPr/>
            <p:nvPr/>
          </p:nvGrpSpPr>
          <p:grpSpPr>
            <a:xfrm>
              <a:off x="2094573" y="2571684"/>
              <a:ext cx="8002853" cy="299550"/>
              <a:chOff x="2094573" y="801202"/>
              <a:chExt cx="8002853" cy="299550"/>
            </a:xfrm>
          </p:grpSpPr>
          <p:sp>
            <p:nvSpPr>
              <p:cNvPr id="21" name="Rektangel med rundade hörn på samma sida 26"/>
              <p:cNvSpPr/>
              <p:nvPr/>
            </p:nvSpPr>
            <p:spPr>
              <a:xfrm>
                <a:off x="2094573" y="801202"/>
                <a:ext cx="8002853" cy="299550"/>
              </a:xfrm>
              <a:prstGeom prst="round2Same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2" name="Grupp 30"/>
              <p:cNvGrpSpPr/>
              <p:nvPr/>
            </p:nvGrpSpPr>
            <p:grpSpPr>
              <a:xfrm>
                <a:off x="2281561" y="910086"/>
                <a:ext cx="449805" cy="81782"/>
                <a:chOff x="1123627" y="871780"/>
                <a:chExt cx="340963" cy="61993"/>
              </a:xfrm>
            </p:grpSpPr>
            <p:sp>
              <p:nvSpPr>
                <p:cNvPr id="24" name="Ellips 27"/>
                <p:cNvSpPr/>
                <p:nvPr/>
              </p:nvSpPr>
              <p:spPr>
                <a:xfrm>
                  <a:off x="1123627" y="871780"/>
                  <a:ext cx="61993" cy="61993"/>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Ellips 28"/>
                <p:cNvSpPr/>
                <p:nvPr/>
              </p:nvSpPr>
              <p:spPr>
                <a:xfrm>
                  <a:off x="1263112" y="871780"/>
                  <a:ext cx="61993" cy="619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6" name="Ellips 29"/>
                <p:cNvSpPr/>
                <p:nvPr/>
              </p:nvSpPr>
              <p:spPr>
                <a:xfrm>
                  <a:off x="1402597" y="871780"/>
                  <a:ext cx="61993" cy="6199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cxnSp>
            <p:nvCxnSpPr>
              <p:cNvPr id="23" name="Rak 34"/>
              <p:cNvCxnSpPr/>
              <p:nvPr/>
            </p:nvCxnSpPr>
            <p:spPr>
              <a:xfrm>
                <a:off x="2094573" y="1100752"/>
                <a:ext cx="8002853" cy="0"/>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hasCustomPrompt="1"/>
          </p:nvPr>
        </p:nvSpPr>
        <p:spPr>
          <a:xfrm>
            <a:off x="571050" y="1657017"/>
            <a:ext cx="11025900" cy="556114"/>
          </a:xfrm>
        </p:spPr>
        <p:txBody>
          <a:bodyPr/>
          <a:lstStyle>
            <a:lvl1pPr algn="ctr">
              <a:defRPr/>
            </a:lvl1pPr>
          </a:lstStyle>
          <a:p>
            <a:r>
              <a:rPr lang="en-US" noProof="0" dirty="0"/>
              <a:t>Click to edit master title</a:t>
            </a:r>
          </a:p>
        </p:txBody>
      </p:sp>
      <p:sp>
        <p:nvSpPr>
          <p:cNvPr id="28" name="Text Placeholder 15"/>
          <p:cNvSpPr>
            <a:spLocks noGrp="1"/>
          </p:cNvSpPr>
          <p:nvPr>
            <p:ph type="body" sz="quarter" idx="14" hasCustomPrompt="1"/>
          </p:nvPr>
        </p:nvSpPr>
        <p:spPr>
          <a:xfrm>
            <a:off x="3145822" y="1097747"/>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9" name="Text Placeholder 15"/>
          <p:cNvSpPr>
            <a:spLocks noGrp="1"/>
          </p:cNvSpPr>
          <p:nvPr>
            <p:ph type="body" sz="quarter" idx="15" hasCustomPrompt="1"/>
          </p:nvPr>
        </p:nvSpPr>
        <p:spPr>
          <a:xfrm>
            <a:off x="3145822" y="1329899"/>
            <a:ext cx="5854422" cy="276130"/>
          </a:xfrm>
        </p:spPr>
        <p:txBody>
          <a:bodyPr anchor="b"/>
          <a:lstStyle>
            <a:lvl1pPr marL="0" indent="0" algn="ctr">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5" name="Picture Placeholder 4"/>
          <p:cNvSpPr>
            <a:spLocks noGrp="1"/>
          </p:cNvSpPr>
          <p:nvPr>
            <p:ph type="pic" sz="quarter" idx="16"/>
          </p:nvPr>
        </p:nvSpPr>
        <p:spPr>
          <a:xfrm>
            <a:off x="2094573" y="2813505"/>
            <a:ext cx="8003515" cy="4044495"/>
          </a:xfrm>
        </p:spPr>
        <p:txBody>
          <a:bodyPr/>
          <a:lstStyle/>
          <a:p>
            <a:r>
              <a:rPr lang="sv-SE" noProof="0"/>
              <a:t>Klicka på ikonen för att lägga till en bild</a:t>
            </a:r>
            <a:endParaRPr lang="en-US" noProof="0" dirty="0"/>
          </a:p>
        </p:txBody>
      </p:sp>
    </p:spTree>
    <p:extLst>
      <p:ext uri="{BB962C8B-B14F-4D97-AF65-F5344CB8AC3E}">
        <p14:creationId xmlns:p14="http://schemas.microsoft.com/office/powerpoint/2010/main" val="145268958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kärmdump Mobil">
    <p:spTree>
      <p:nvGrpSpPr>
        <p:cNvPr id="1" name=""/>
        <p:cNvGrpSpPr/>
        <p:nvPr/>
      </p:nvGrpSpPr>
      <p:grpSpPr>
        <a:xfrm>
          <a:off x="0" y="0"/>
          <a:ext cx="0" cy="0"/>
          <a:chOff x="0" y="0"/>
          <a:chExt cx="0" cy="0"/>
        </a:xfrm>
      </p:grpSpPr>
      <p:sp>
        <p:nvSpPr>
          <p:cNvPr id="16" name="Rectangle 1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p:cNvSpPr>
            <a:spLocks noGrp="1"/>
          </p:cNvSpPr>
          <p:nvPr>
            <p:ph type="title" hasCustomPrompt="1"/>
          </p:nvPr>
        </p:nvSpPr>
        <p:spPr>
          <a:xfrm>
            <a:off x="571050" y="1657017"/>
            <a:ext cx="11025900" cy="556114"/>
          </a:xfrm>
        </p:spPr>
        <p:txBody>
          <a:bodyPr/>
          <a:lstStyle>
            <a:lvl1pPr algn="ctr">
              <a:defRPr/>
            </a:lvl1pPr>
          </a:lstStyle>
          <a:p>
            <a:r>
              <a:rPr lang="en-US" noProof="0" dirty="0"/>
              <a:t>Click to edit master title</a:t>
            </a:r>
          </a:p>
        </p:txBody>
      </p:sp>
      <p:sp>
        <p:nvSpPr>
          <p:cNvPr id="28" name="Text Placeholder 15"/>
          <p:cNvSpPr>
            <a:spLocks noGrp="1"/>
          </p:cNvSpPr>
          <p:nvPr>
            <p:ph type="body" sz="quarter" idx="14" hasCustomPrompt="1"/>
          </p:nvPr>
        </p:nvSpPr>
        <p:spPr>
          <a:xfrm>
            <a:off x="3145822" y="1097747"/>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9" name="Text Placeholder 15"/>
          <p:cNvSpPr>
            <a:spLocks noGrp="1"/>
          </p:cNvSpPr>
          <p:nvPr>
            <p:ph type="body" sz="quarter" idx="15" hasCustomPrompt="1"/>
          </p:nvPr>
        </p:nvSpPr>
        <p:spPr>
          <a:xfrm>
            <a:off x="3145822" y="1329899"/>
            <a:ext cx="5854422" cy="276130"/>
          </a:xfrm>
        </p:spPr>
        <p:txBody>
          <a:bodyPr anchor="b"/>
          <a:lstStyle>
            <a:lvl1pPr marL="0" indent="0" algn="ctr">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grpSp>
        <p:nvGrpSpPr>
          <p:cNvPr id="17" name="Telefon"/>
          <p:cNvGrpSpPr/>
          <p:nvPr userDrawn="1"/>
        </p:nvGrpSpPr>
        <p:grpSpPr>
          <a:xfrm>
            <a:off x="4853320" y="2519561"/>
            <a:ext cx="2404896" cy="4902613"/>
            <a:chOff x="8226170" y="803708"/>
            <a:chExt cx="2810577" cy="5729632"/>
          </a:xfrm>
        </p:grpSpPr>
        <p:sp>
          <p:nvSpPr>
            <p:cNvPr id="27" name="Frihandsfigur 14"/>
            <p:cNvSpPr/>
            <p:nvPr/>
          </p:nvSpPr>
          <p:spPr>
            <a:xfrm>
              <a:off x="8226170" y="803708"/>
              <a:ext cx="2810577" cy="5729632"/>
            </a:xfrm>
            <a:custGeom>
              <a:avLst/>
              <a:gdLst>
                <a:gd name="connsiteX0" fmla="*/ 163288 w 2810577"/>
                <a:gd name="connsiteY0" fmla="*/ 650442 h 5729632"/>
                <a:gd name="connsiteX1" fmla="*/ 163288 w 2810577"/>
                <a:gd name="connsiteY1" fmla="*/ 5078442 h 5729632"/>
                <a:gd name="connsiteX2" fmla="*/ 2647288 w 2810577"/>
                <a:gd name="connsiteY2" fmla="*/ 5078442 h 5729632"/>
                <a:gd name="connsiteX3" fmla="*/ 2647288 w 2810577"/>
                <a:gd name="connsiteY3" fmla="*/ 650442 h 5729632"/>
                <a:gd name="connsiteX4" fmla="*/ 352924 w 2810577"/>
                <a:gd name="connsiteY4" fmla="*/ 0 h 5729632"/>
                <a:gd name="connsiteX5" fmla="*/ 2457653 w 2810577"/>
                <a:gd name="connsiteY5" fmla="*/ 0 h 5729632"/>
                <a:gd name="connsiteX6" fmla="*/ 2810577 w 2810577"/>
                <a:gd name="connsiteY6" fmla="*/ 352924 h 5729632"/>
                <a:gd name="connsiteX7" fmla="*/ 2810577 w 2810577"/>
                <a:gd name="connsiteY7" fmla="*/ 5376708 h 5729632"/>
                <a:gd name="connsiteX8" fmla="*/ 2457653 w 2810577"/>
                <a:gd name="connsiteY8" fmla="*/ 5729632 h 5729632"/>
                <a:gd name="connsiteX9" fmla="*/ 352924 w 2810577"/>
                <a:gd name="connsiteY9" fmla="*/ 5729632 h 5729632"/>
                <a:gd name="connsiteX10" fmla="*/ 0 w 2810577"/>
                <a:gd name="connsiteY10" fmla="*/ 5376708 h 5729632"/>
                <a:gd name="connsiteX11" fmla="*/ 0 w 2810577"/>
                <a:gd name="connsiteY11" fmla="*/ 352924 h 5729632"/>
                <a:gd name="connsiteX12" fmla="*/ 352924 w 2810577"/>
                <a:gd name="connsiteY12" fmla="*/ 0 h 572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0577" h="5729632">
                  <a:moveTo>
                    <a:pt x="163288" y="650442"/>
                  </a:moveTo>
                  <a:lnTo>
                    <a:pt x="163288" y="5078442"/>
                  </a:lnTo>
                  <a:lnTo>
                    <a:pt x="2647288" y="5078442"/>
                  </a:lnTo>
                  <a:lnTo>
                    <a:pt x="2647288" y="650442"/>
                  </a:lnTo>
                  <a:close/>
                  <a:moveTo>
                    <a:pt x="352924" y="0"/>
                  </a:moveTo>
                  <a:lnTo>
                    <a:pt x="2457653" y="0"/>
                  </a:lnTo>
                  <a:cubicBezTo>
                    <a:pt x="2652568" y="0"/>
                    <a:pt x="2810577" y="158009"/>
                    <a:pt x="2810577" y="352924"/>
                  </a:cubicBezTo>
                  <a:lnTo>
                    <a:pt x="2810577" y="5376708"/>
                  </a:lnTo>
                  <a:cubicBezTo>
                    <a:pt x="2810577" y="5571623"/>
                    <a:pt x="2652568" y="5729632"/>
                    <a:pt x="2457653" y="5729632"/>
                  </a:cubicBezTo>
                  <a:lnTo>
                    <a:pt x="352924" y="5729632"/>
                  </a:lnTo>
                  <a:cubicBezTo>
                    <a:pt x="158009" y="5729632"/>
                    <a:pt x="0" y="5571623"/>
                    <a:pt x="0" y="5376708"/>
                  </a:cubicBezTo>
                  <a:lnTo>
                    <a:pt x="0" y="352924"/>
                  </a:lnTo>
                  <a:cubicBezTo>
                    <a:pt x="0" y="158009"/>
                    <a:pt x="158009" y="0"/>
                    <a:pt x="352924" y="0"/>
                  </a:cubicBezTo>
                  <a:close/>
                </a:path>
              </a:pathLst>
            </a:custGeom>
            <a:gradFill>
              <a:gsLst>
                <a:gs pos="0">
                  <a:schemeClr val="bg1"/>
                </a:gs>
                <a:gs pos="100000">
                  <a:srgbClr val="F8F8F8">
                    <a:lumMod val="74000"/>
                    <a:lumOff val="26000"/>
                  </a:srgbClr>
                </a:gs>
              </a:gsLst>
              <a:lin ang="5400000" scaled="1"/>
            </a:gradFill>
            <a:ln w="22225">
              <a:solidFill>
                <a:schemeClr val="bg1"/>
              </a:solidFill>
              <a:bevel/>
            </a:ln>
            <a:effectLst>
              <a:outerShdw blurRad="63500" dist="50800" dir="6000000" sx="102000" sy="102000" algn="ctr" rotWithShape="0">
                <a:prstClr val="black">
                  <a:alpha val="3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30" name="Hemnapp"/>
            <p:cNvSpPr/>
            <p:nvPr/>
          </p:nvSpPr>
          <p:spPr>
            <a:xfrm>
              <a:off x="9424515" y="6000802"/>
              <a:ext cx="413886" cy="413886"/>
            </a:xfrm>
            <a:prstGeom prst="ellipse">
              <a:avLst/>
            </a:prstGeom>
            <a:solidFill>
              <a:schemeClr val="bg1"/>
            </a:solidFill>
            <a:ln>
              <a:gradFill>
                <a:gsLst>
                  <a:gs pos="100000">
                    <a:schemeClr val="bg1"/>
                  </a:gs>
                  <a:gs pos="0">
                    <a:schemeClr val="bg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Picture Placeholder 3"/>
          <p:cNvSpPr>
            <a:spLocks noGrp="1"/>
          </p:cNvSpPr>
          <p:nvPr>
            <p:ph type="pic" sz="quarter" idx="16"/>
          </p:nvPr>
        </p:nvSpPr>
        <p:spPr>
          <a:xfrm>
            <a:off x="5010150" y="3079750"/>
            <a:ext cx="2092325" cy="3778250"/>
          </a:xfrm>
        </p:spPr>
        <p:txBody>
          <a:bodyPr/>
          <a:lstStyle/>
          <a:p>
            <a:r>
              <a:rPr lang="sv-SE" noProof="0"/>
              <a:t>Klicka på ikonen för att lägga till en bild</a:t>
            </a:r>
            <a:endParaRPr lang="en-US" noProof="0" dirty="0"/>
          </a:p>
        </p:txBody>
      </p:sp>
    </p:spTree>
    <p:extLst>
      <p:ext uri="{BB962C8B-B14F-4D97-AF65-F5344CB8AC3E}">
        <p14:creationId xmlns:p14="http://schemas.microsoft.com/office/powerpoint/2010/main" val="30003015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3/1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bg1">
            <a:lumMod val="5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3113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3/1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559192" y="6068628"/>
            <a:ext cx="7459394"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a:t>Click to edit master subtitle style</a:t>
            </a:r>
          </a:p>
        </p:txBody>
      </p:sp>
      <p:sp>
        <p:nvSpPr>
          <p:cNvPr id="13" name="Title 12"/>
          <p:cNvSpPr>
            <a:spLocks noGrp="1"/>
          </p:cNvSpPr>
          <p:nvPr>
            <p:ph type="title" hasCustomPrompt="1"/>
          </p:nvPr>
        </p:nvSpPr>
        <p:spPr>
          <a:xfrm>
            <a:off x="559192" y="3305907"/>
            <a:ext cx="7459394" cy="2278963"/>
          </a:xfrm>
        </p:spPr>
        <p:txBody>
          <a:bodyPr anchor="b"/>
          <a:lstStyle>
            <a:lvl1pPr>
              <a:lnSpc>
                <a:spcPct val="100000"/>
              </a:lnSpc>
              <a:defRPr sz="4000" baseline="0"/>
            </a:lvl1pPr>
          </a:lstStyle>
          <a:p>
            <a:r>
              <a:rPr lang="en-US" noProof="0" dirty="0"/>
              <a:t>Click to edit master title</a:t>
            </a:r>
          </a:p>
        </p:txBody>
      </p:sp>
      <p:sp>
        <p:nvSpPr>
          <p:cNvPr id="16" name="Text Placeholder 15"/>
          <p:cNvSpPr>
            <a:spLocks noGrp="1"/>
          </p:cNvSpPr>
          <p:nvPr>
            <p:ph type="body" sz="quarter" idx="13" hasCustomPrompt="1"/>
          </p:nvPr>
        </p:nvSpPr>
        <p:spPr>
          <a:xfrm>
            <a:off x="558801" y="5803900"/>
            <a:ext cx="7459786"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7" name="Date Placeholder 19"/>
          <p:cNvSpPr>
            <a:spLocks noGrp="1"/>
          </p:cNvSpPr>
          <p:nvPr>
            <p:ph type="dt" sz="half" idx="15"/>
          </p:nvPr>
        </p:nvSpPr>
        <p:spPr>
          <a:xfrm>
            <a:off x="9131100" y="6064596"/>
            <a:ext cx="2573192" cy="252000"/>
          </a:xfrm>
        </p:spPr>
        <p:txBody>
          <a:bodyPr/>
          <a:lstStyle>
            <a:lvl1pPr algn="r">
              <a:defRPr b="1" i="0">
                <a:solidFill>
                  <a:schemeClr val="tx1"/>
                </a:solidFill>
                <a:latin typeface="Avenir Next LT Pro Demi" charset="0"/>
                <a:ea typeface="Avenir Next LT Pro Demi" charset="0"/>
                <a:cs typeface="Avenir Next LT Pro Demi" charset="0"/>
              </a:defRPr>
            </a:lvl1pPr>
          </a:lstStyle>
          <a:p>
            <a:fld id="{CC564DCC-93F6-4626-851E-B7512A158F15}" type="datetimeFigureOut">
              <a:rPr lang="en-US" noProof="0" smtClean="0"/>
              <a:pPr/>
              <a:t>3/12/2018</a:t>
            </a:fld>
            <a:endParaRPr lang="en-US" noProof="0" dirty="0"/>
          </a:p>
        </p:txBody>
      </p:sp>
    </p:spTree>
    <p:extLst>
      <p:ext uri="{BB962C8B-B14F-4D97-AF65-F5344CB8AC3E}">
        <p14:creationId xmlns:p14="http://schemas.microsoft.com/office/powerpoint/2010/main" val="20519590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Rubrikbild egen bild">
    <p:spTree>
      <p:nvGrpSpPr>
        <p:cNvPr id="1" name=""/>
        <p:cNvGrpSpPr/>
        <p:nvPr/>
      </p:nvGrpSpPr>
      <p:grpSpPr>
        <a:xfrm>
          <a:off x="0" y="0"/>
          <a:ext cx="0" cy="0"/>
          <a:chOff x="0" y="0"/>
          <a:chExt cx="0" cy="0"/>
        </a:xfrm>
      </p:grpSpPr>
      <p:sp>
        <p:nvSpPr>
          <p:cNvPr id="17" name="Rectangle 16"/>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sp>
        <p:nvSpPr>
          <p:cNvPr id="14" name="Underrubrik 2"/>
          <p:cNvSpPr>
            <a:spLocks noGrp="1"/>
          </p:cNvSpPr>
          <p:nvPr>
            <p:ph type="subTitle" idx="1" hasCustomPrompt="1"/>
          </p:nvPr>
        </p:nvSpPr>
        <p:spPr>
          <a:xfrm>
            <a:off x="559192" y="6068628"/>
            <a:ext cx="7459394"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a:t>Click to edit master subtitle style</a:t>
            </a:r>
          </a:p>
        </p:txBody>
      </p:sp>
      <p:sp>
        <p:nvSpPr>
          <p:cNvPr id="15" name="Title 12"/>
          <p:cNvSpPr>
            <a:spLocks noGrp="1"/>
          </p:cNvSpPr>
          <p:nvPr>
            <p:ph type="title" hasCustomPrompt="1"/>
          </p:nvPr>
        </p:nvSpPr>
        <p:spPr>
          <a:xfrm>
            <a:off x="559192" y="3305907"/>
            <a:ext cx="7459394" cy="2278963"/>
          </a:xfrm>
        </p:spPr>
        <p:txBody>
          <a:bodyPr anchor="b"/>
          <a:lstStyle>
            <a:lvl1pPr>
              <a:lnSpc>
                <a:spcPct val="100000"/>
              </a:lnSpc>
              <a:defRPr sz="4000">
                <a:solidFill>
                  <a:schemeClr val="bg1"/>
                </a:solidFill>
              </a:defRPr>
            </a:lvl1pPr>
          </a:lstStyle>
          <a:p>
            <a:r>
              <a:rPr lang="en-US" noProof="0" dirty="0"/>
              <a:t>Click to edit master title</a:t>
            </a:r>
          </a:p>
        </p:txBody>
      </p:sp>
      <p:sp>
        <p:nvSpPr>
          <p:cNvPr id="16" name="Text Placeholder 15"/>
          <p:cNvSpPr>
            <a:spLocks noGrp="1"/>
          </p:cNvSpPr>
          <p:nvPr>
            <p:ph type="body" sz="quarter" idx="14" hasCustomPrompt="1"/>
          </p:nvPr>
        </p:nvSpPr>
        <p:spPr>
          <a:xfrm>
            <a:off x="558801" y="5803900"/>
            <a:ext cx="7459786"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20" name="Date Placeholder 19"/>
          <p:cNvSpPr>
            <a:spLocks noGrp="1"/>
          </p:cNvSpPr>
          <p:nvPr>
            <p:ph type="dt" sz="half" idx="15"/>
          </p:nvPr>
        </p:nvSpPr>
        <p:spPr>
          <a:xfrm>
            <a:off x="9131100" y="6064596"/>
            <a:ext cx="2573192" cy="252000"/>
          </a:xfrm>
        </p:spPr>
        <p:txBody>
          <a:bodyPr/>
          <a:lstStyle>
            <a:lvl1pPr algn="r">
              <a:defRPr b="1" i="0">
                <a:solidFill>
                  <a:schemeClr val="bg1"/>
                </a:solidFill>
                <a:latin typeface="Avenir Next LT Pro Demi" charset="0"/>
                <a:ea typeface="Avenir Next LT Pro Demi" charset="0"/>
                <a:cs typeface="Avenir Next LT Pro Demi" charset="0"/>
              </a:defRPr>
            </a:lvl1pPr>
          </a:lstStyle>
          <a:p>
            <a:fld id="{CC564DCC-93F6-4626-851E-B7512A158F15}" type="datetimeFigureOut">
              <a:rPr lang="en-US" noProof="0" smtClean="0"/>
              <a:pPr/>
              <a:t>3/12/2018</a:t>
            </a:fld>
            <a:endParaRPr lang="en-US" noProof="0" dirty="0"/>
          </a:p>
        </p:txBody>
      </p:sp>
    </p:spTree>
    <p:extLst>
      <p:ext uri="{BB962C8B-B14F-4D97-AF65-F5344CB8AC3E}">
        <p14:creationId xmlns:p14="http://schemas.microsoft.com/office/powerpoint/2010/main" val="24479797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ild med titel">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sp>
        <p:nvSpPr>
          <p:cNvPr id="15" name="Title 12"/>
          <p:cNvSpPr>
            <a:spLocks noGrp="1"/>
          </p:cNvSpPr>
          <p:nvPr>
            <p:ph type="title" hasCustomPrompt="1"/>
          </p:nvPr>
        </p:nvSpPr>
        <p:spPr>
          <a:xfrm>
            <a:off x="559192" y="3305907"/>
            <a:ext cx="7459394" cy="3076698"/>
          </a:xfrm>
        </p:spPr>
        <p:txBody>
          <a:bodyPr anchor="b"/>
          <a:lstStyle>
            <a:lvl1pPr>
              <a:lnSpc>
                <a:spcPct val="100000"/>
              </a:lnSpc>
              <a:defRPr sz="4000">
                <a:solidFill>
                  <a:schemeClr val="bg1"/>
                </a:solidFill>
              </a:defRPr>
            </a:lvl1pPr>
          </a:lstStyle>
          <a:p>
            <a:r>
              <a:rPr lang="en-US" noProof="0" dirty="0"/>
              <a:t>Click to edit master title</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Tree>
    <p:extLst>
      <p:ext uri="{BB962C8B-B14F-4D97-AF65-F5344CB8AC3E}">
        <p14:creationId xmlns:p14="http://schemas.microsoft.com/office/powerpoint/2010/main" val="33471229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Nyckeltal">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559192" y="6068628"/>
            <a:ext cx="9288000"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itle 12"/>
          <p:cNvSpPr>
            <a:spLocks noGrp="1"/>
          </p:cNvSpPr>
          <p:nvPr>
            <p:ph type="title" hasCustomPrompt="1"/>
          </p:nvPr>
        </p:nvSpPr>
        <p:spPr>
          <a:xfrm>
            <a:off x="559192" y="4559300"/>
            <a:ext cx="7459394" cy="1025570"/>
          </a:xfrm>
        </p:spPr>
        <p:txBody>
          <a:bodyPr anchor="b"/>
          <a:lstStyle>
            <a:lvl1pPr>
              <a:lnSpc>
                <a:spcPct val="100000"/>
              </a:lnSpc>
              <a:defRPr sz="3200" baseline="0"/>
            </a:lvl1pPr>
          </a:lstStyle>
          <a:p>
            <a:r>
              <a:rPr lang="en-US" noProof="0" dirty="0"/>
              <a:t>Click to edit master title</a:t>
            </a:r>
          </a:p>
        </p:txBody>
      </p:sp>
      <p:sp>
        <p:nvSpPr>
          <p:cNvPr id="16" name="Text Placeholder 15"/>
          <p:cNvSpPr>
            <a:spLocks noGrp="1"/>
          </p:cNvSpPr>
          <p:nvPr>
            <p:ph type="body" sz="quarter" idx="13" hasCustomPrompt="1"/>
          </p:nvPr>
        </p:nvSpPr>
        <p:spPr>
          <a:xfrm>
            <a:off x="558800" y="5803900"/>
            <a:ext cx="928846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4" name="Text Placeholder 3"/>
          <p:cNvSpPr>
            <a:spLocks noGrp="1"/>
          </p:cNvSpPr>
          <p:nvPr>
            <p:ph type="body" sz="quarter" idx="14" hasCustomPrompt="1"/>
          </p:nvPr>
        </p:nvSpPr>
        <p:spPr>
          <a:xfrm>
            <a:off x="558800" y="2447776"/>
            <a:ext cx="7459663" cy="2390923"/>
          </a:xfrm>
        </p:spPr>
        <p:txBody>
          <a:bodyPr anchor="b"/>
          <a:lstStyle>
            <a:lvl1pPr marL="0" indent="0">
              <a:lnSpc>
                <a:spcPct val="100000"/>
              </a:lnSpc>
              <a:buNone/>
              <a:defRPr sz="14000" b="0" i="0">
                <a:solidFill>
                  <a:schemeClr val="accent2"/>
                </a:solidFill>
                <a:latin typeface="Rockwell Std Light" charset="0"/>
                <a:ea typeface="Rockwell Std Light" charset="0"/>
                <a:cs typeface="Rockwell Std Light" charset="0"/>
              </a:defRPr>
            </a:lvl1pPr>
            <a:lvl2pPr marL="457200" indent="0">
              <a:buNone/>
              <a:defRPr sz="14000"/>
            </a:lvl2pPr>
            <a:lvl3pPr marL="914400" indent="0">
              <a:buNone/>
              <a:defRPr sz="14000"/>
            </a:lvl3pPr>
            <a:lvl4pPr marL="1371600" indent="0">
              <a:buNone/>
              <a:defRPr sz="14000"/>
            </a:lvl4pPr>
            <a:lvl5pPr marL="1828800" indent="0">
              <a:buNone/>
              <a:defRPr sz="14000"/>
            </a:lvl5pPr>
          </a:lstStyle>
          <a:p>
            <a:pPr lvl="0"/>
            <a:r>
              <a:rPr lang="en-US" noProof="0" dirty="0"/>
              <a:t>10%</a:t>
            </a:r>
          </a:p>
        </p:txBody>
      </p:sp>
    </p:spTree>
    <p:extLst>
      <p:ext uri="{BB962C8B-B14F-4D97-AF65-F5344CB8AC3E}">
        <p14:creationId xmlns:p14="http://schemas.microsoft.com/office/powerpoint/2010/main" val="39864130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Nyckeltal med bild">
    <p:spTree>
      <p:nvGrpSpPr>
        <p:cNvPr id="1" name=""/>
        <p:cNvGrpSpPr/>
        <p:nvPr/>
      </p:nvGrpSpPr>
      <p:grpSpPr>
        <a:xfrm>
          <a:off x="0" y="0"/>
          <a:ext cx="0" cy="0"/>
          <a:chOff x="0" y="0"/>
          <a:chExt cx="0" cy="0"/>
        </a:xfrm>
      </p:grpSpPr>
      <p:sp>
        <p:nvSpPr>
          <p:cNvPr id="17" name="Rectangle 16"/>
          <p:cNvSpPr/>
          <p:nvPr userDrawn="1"/>
        </p:nvSpPr>
        <p:spPr>
          <a:xfrm>
            <a:off x="0" y="0"/>
            <a:ext cx="12192000" cy="6870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9" name="Underrubrik 2"/>
          <p:cNvSpPr>
            <a:spLocks noGrp="1"/>
          </p:cNvSpPr>
          <p:nvPr>
            <p:ph type="subTitle" idx="1" hasCustomPrompt="1"/>
          </p:nvPr>
        </p:nvSpPr>
        <p:spPr>
          <a:xfrm>
            <a:off x="559192" y="6068628"/>
            <a:ext cx="9288000"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0" name="Title 12"/>
          <p:cNvSpPr>
            <a:spLocks noGrp="1"/>
          </p:cNvSpPr>
          <p:nvPr>
            <p:ph type="title" hasCustomPrompt="1"/>
          </p:nvPr>
        </p:nvSpPr>
        <p:spPr>
          <a:xfrm>
            <a:off x="559192" y="4559300"/>
            <a:ext cx="7459394" cy="1025570"/>
          </a:xfrm>
        </p:spPr>
        <p:txBody>
          <a:bodyPr anchor="b"/>
          <a:lstStyle>
            <a:lvl1pPr>
              <a:lnSpc>
                <a:spcPct val="100000"/>
              </a:lnSpc>
              <a:defRPr sz="3200">
                <a:solidFill>
                  <a:schemeClr val="bg1"/>
                </a:solidFill>
              </a:defRPr>
            </a:lvl1pPr>
          </a:lstStyle>
          <a:p>
            <a:r>
              <a:rPr lang="en-US" noProof="0" dirty="0"/>
              <a:t>Click to edit master title</a:t>
            </a:r>
          </a:p>
        </p:txBody>
      </p:sp>
      <p:sp>
        <p:nvSpPr>
          <p:cNvPr id="11" name="Text Placeholder 15"/>
          <p:cNvSpPr>
            <a:spLocks noGrp="1"/>
          </p:cNvSpPr>
          <p:nvPr>
            <p:ph type="body" sz="quarter" idx="14" hasCustomPrompt="1"/>
          </p:nvPr>
        </p:nvSpPr>
        <p:spPr>
          <a:xfrm>
            <a:off x="558800" y="5803900"/>
            <a:ext cx="928846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2" name="Text Placeholder 3"/>
          <p:cNvSpPr>
            <a:spLocks noGrp="1"/>
          </p:cNvSpPr>
          <p:nvPr>
            <p:ph type="body" sz="quarter" idx="15" hasCustomPrompt="1"/>
          </p:nvPr>
        </p:nvSpPr>
        <p:spPr>
          <a:xfrm>
            <a:off x="558800" y="2447776"/>
            <a:ext cx="7459663" cy="2390923"/>
          </a:xfrm>
        </p:spPr>
        <p:txBody>
          <a:bodyPr anchor="b"/>
          <a:lstStyle>
            <a:lvl1pPr marL="0" indent="0">
              <a:lnSpc>
                <a:spcPct val="100000"/>
              </a:lnSpc>
              <a:buNone/>
              <a:defRPr sz="14000" b="0" i="0">
                <a:solidFill>
                  <a:schemeClr val="accent2"/>
                </a:solidFill>
                <a:latin typeface="Rockwell Std Light" charset="0"/>
                <a:ea typeface="Rockwell Std Light" charset="0"/>
                <a:cs typeface="Rockwell Std Light" charset="0"/>
              </a:defRPr>
            </a:lvl1pPr>
            <a:lvl2pPr marL="457200" indent="0">
              <a:buNone/>
              <a:defRPr sz="14000"/>
            </a:lvl2pPr>
            <a:lvl3pPr marL="914400" indent="0">
              <a:buNone/>
              <a:defRPr sz="14000"/>
            </a:lvl3pPr>
            <a:lvl4pPr marL="1371600" indent="0">
              <a:buNone/>
              <a:defRPr sz="14000"/>
            </a:lvl4pPr>
            <a:lvl5pPr marL="1828800" indent="0">
              <a:buNone/>
              <a:defRPr sz="14000"/>
            </a:lvl5pPr>
          </a:lstStyle>
          <a:p>
            <a:pPr lvl="0"/>
            <a:r>
              <a:rPr lang="en-US" noProof="0" dirty="0"/>
              <a:t>10%</a:t>
            </a:r>
          </a:p>
        </p:txBody>
      </p:sp>
    </p:spTree>
    <p:extLst>
      <p:ext uri="{BB962C8B-B14F-4D97-AF65-F5344CB8AC3E}">
        <p14:creationId xmlns:p14="http://schemas.microsoft.com/office/powerpoint/2010/main" val="5877961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itat vit">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lvl1pPr>
          </a:lstStyle>
          <a:p>
            <a:r>
              <a:rPr lang="en-US" noProof="0" dirty="0"/>
              <a:t>Click to edit master title</a:t>
            </a:r>
          </a:p>
        </p:txBody>
      </p:sp>
    </p:spTree>
    <p:extLst>
      <p:ext uri="{BB962C8B-B14F-4D97-AF65-F5344CB8AC3E}">
        <p14:creationId xmlns:p14="http://schemas.microsoft.com/office/powerpoint/2010/main" val="34893048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itat gul">
    <p:spTree>
      <p:nvGrpSpPr>
        <p:cNvPr id="1" name=""/>
        <p:cNvGrpSpPr/>
        <p:nvPr/>
      </p:nvGrpSpPr>
      <p:grpSpPr>
        <a:xfrm>
          <a:off x="0" y="0"/>
          <a:ext cx="0" cy="0"/>
          <a:chOff x="0" y="0"/>
          <a:chExt cx="0" cy="0"/>
        </a:xfrm>
      </p:grpSpPr>
      <p:sp>
        <p:nvSpPr>
          <p:cNvPr id="9" name="Rectangle 8"/>
          <p:cNvSpPr/>
          <p:nvPr userDrawn="1"/>
        </p:nvSpPr>
        <p:spPr>
          <a:xfrm>
            <a:off x="258055" y="746975"/>
            <a:ext cx="11675890" cy="5852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bg1"/>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lvl1pPr>
          </a:lstStyle>
          <a:p>
            <a:r>
              <a:rPr lang="en-US" noProof="0" dirty="0"/>
              <a:t>Click to edit master title</a:t>
            </a:r>
          </a:p>
        </p:txBody>
      </p:sp>
    </p:spTree>
    <p:extLst>
      <p:ext uri="{BB962C8B-B14F-4D97-AF65-F5344CB8AC3E}">
        <p14:creationId xmlns:p14="http://schemas.microsoft.com/office/powerpoint/2010/main" val="40658943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itat svart">
    <p:spTree>
      <p:nvGrpSpPr>
        <p:cNvPr id="1" name=""/>
        <p:cNvGrpSpPr/>
        <p:nvPr/>
      </p:nvGrpSpPr>
      <p:grpSpPr>
        <a:xfrm>
          <a:off x="0" y="0"/>
          <a:ext cx="0" cy="0"/>
          <a:chOff x="0" y="0"/>
          <a:chExt cx="0" cy="0"/>
        </a:xfrm>
      </p:grpSpPr>
      <p:sp>
        <p:nvSpPr>
          <p:cNvPr id="9" name="Rectangle 8"/>
          <p:cNvSpPr/>
          <p:nvPr userDrawn="1"/>
        </p:nvSpPr>
        <p:spPr>
          <a:xfrm>
            <a:off x="258055" y="746975"/>
            <a:ext cx="1167589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solidFill>
                  <a:schemeClr val="bg1"/>
                </a:solidFill>
              </a:defRPr>
            </a:lvl1pPr>
          </a:lstStyle>
          <a:p>
            <a:r>
              <a:rPr lang="en-US" noProof="0" dirty="0"/>
              <a:t>Click to edit master title</a:t>
            </a:r>
          </a:p>
        </p:txBody>
      </p:sp>
    </p:spTree>
    <p:extLst>
      <p:ext uri="{BB962C8B-B14F-4D97-AF65-F5344CB8AC3E}">
        <p14:creationId xmlns:p14="http://schemas.microsoft.com/office/powerpoint/2010/main" val="36920744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itat med bild">
    <p:bg>
      <p:bgPr>
        <a:solidFill>
          <a:schemeClr val="tx1"/>
        </a:solidFill>
        <a:effectLst/>
      </p:bgPr>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0" y="0"/>
            <a:ext cx="12191999"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1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4" name="Text Placeholder 15"/>
          <p:cNvSpPr>
            <a:spLocks noGrp="1"/>
          </p:cNvSpPr>
          <p:nvPr>
            <p:ph type="body" sz="quarter" idx="14"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5" name="TextBox 14"/>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6" name="Title 12"/>
          <p:cNvSpPr>
            <a:spLocks noGrp="1"/>
          </p:cNvSpPr>
          <p:nvPr>
            <p:ph type="title" hasCustomPrompt="1"/>
          </p:nvPr>
        </p:nvSpPr>
        <p:spPr>
          <a:xfrm>
            <a:off x="1587321" y="2886841"/>
            <a:ext cx="8844566" cy="1336801"/>
          </a:xfrm>
        </p:spPr>
        <p:txBody>
          <a:bodyPr anchor="t"/>
          <a:lstStyle>
            <a:lvl1pPr>
              <a:lnSpc>
                <a:spcPct val="100000"/>
              </a:lnSpc>
              <a:defRPr sz="4000">
                <a:solidFill>
                  <a:schemeClr val="bg1"/>
                </a:solidFill>
              </a:defRPr>
            </a:lvl1pPr>
          </a:lstStyle>
          <a:p>
            <a:r>
              <a:rPr lang="en-US" noProof="0" dirty="0"/>
              <a:t>Click to edit master title</a:t>
            </a:r>
          </a:p>
        </p:txBody>
      </p:sp>
    </p:spTree>
    <p:extLst>
      <p:ext uri="{BB962C8B-B14F-4D97-AF65-F5344CB8AC3E}">
        <p14:creationId xmlns:p14="http://schemas.microsoft.com/office/powerpoint/2010/main" val="327066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apitel vit">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itle 12"/>
          <p:cNvSpPr>
            <a:spLocks noGrp="1"/>
          </p:cNvSpPr>
          <p:nvPr>
            <p:ph type="title" hasCustomPrompt="1"/>
          </p:nvPr>
        </p:nvSpPr>
        <p:spPr>
          <a:xfrm>
            <a:off x="559192" y="3305907"/>
            <a:ext cx="5523012" cy="2278963"/>
          </a:xfrm>
        </p:spPr>
        <p:txBody>
          <a:bodyPr anchor="b"/>
          <a:lstStyle>
            <a:lvl1pPr>
              <a:lnSpc>
                <a:spcPct val="100000"/>
              </a:lnSpc>
              <a:defRPr sz="4000"/>
            </a:lvl1pPr>
          </a:lstStyle>
          <a:p>
            <a:r>
              <a:rPr lang="en-US" noProof="0" dirty="0"/>
              <a:t>Click to edit master title</a:t>
            </a:r>
          </a:p>
        </p:txBody>
      </p:sp>
      <p:sp>
        <p:nvSpPr>
          <p:cNvPr id="16"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4" name="Content Placeholder 3"/>
          <p:cNvSpPr>
            <a:spLocks noGrp="1"/>
          </p:cNvSpPr>
          <p:nvPr>
            <p:ph sz="quarter" idx="14"/>
          </p:nvPr>
        </p:nvSpPr>
        <p:spPr>
          <a:xfrm>
            <a:off x="6400555" y="1006475"/>
            <a:ext cx="5214938" cy="5268913"/>
          </a:xfrm>
        </p:spPr>
        <p:txBody>
          <a:bodyPr anchor="b"/>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23306237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image" Target="../media/image3.e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image" Target="../media/image3.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image" Target="../media/image12.png"/><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theme" Target="../theme/theme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theme" Target="../theme/theme6.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21" Type="http://schemas.openxmlformats.org/officeDocument/2006/relationships/image" Target="../media/image3.emf"/><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theme" Target="../theme/theme7.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 id="214748384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571050" y="1077375"/>
            <a:ext cx="11025900" cy="556114"/>
          </a:xfrm>
          <a:prstGeom prst="rect">
            <a:avLst/>
          </a:prstGeom>
        </p:spPr>
        <p:txBody>
          <a:bodyPr vert="horz" lIns="0" tIns="0" rIns="0" bIns="0" rtlCol="0" anchor="t">
            <a:noAutofit/>
          </a:bodyPr>
          <a:lstStyle/>
          <a:p>
            <a:r>
              <a:rPr lang="en-US" noProof="0" dirty="0"/>
              <a:t>Click here to edit format</a:t>
            </a:r>
          </a:p>
        </p:txBody>
      </p:sp>
      <p:sp>
        <p:nvSpPr>
          <p:cNvPr id="3" name="Platshållare för text 2"/>
          <p:cNvSpPr>
            <a:spLocks noGrp="1"/>
          </p:cNvSpPr>
          <p:nvPr>
            <p:ph type="body" idx="1"/>
          </p:nvPr>
        </p:nvSpPr>
        <p:spPr>
          <a:xfrm>
            <a:off x="571050" y="1813457"/>
            <a:ext cx="5406905" cy="4206343"/>
          </a:xfrm>
          <a:prstGeom prst="rect">
            <a:avLst/>
          </a:prstGeom>
        </p:spPr>
        <p:txBody>
          <a:bodyPr vert="horz" lIns="0" tIns="0" rIns="0" bIns="0" rtlCol="0">
            <a:noAutofit/>
          </a:bodyPr>
          <a:lstStyle/>
          <a:p>
            <a:pPr lvl="0"/>
            <a:r>
              <a:rPr lang="en-US" noProof="0" dirty="0"/>
              <a:t>Click to edit tex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4" name="Platshållare för datum 3"/>
          <p:cNvSpPr>
            <a:spLocks noGrp="1"/>
          </p:cNvSpPr>
          <p:nvPr>
            <p:ph type="dt" sz="half" idx="2"/>
          </p:nvPr>
        </p:nvSpPr>
        <p:spPr>
          <a:xfrm>
            <a:off x="5481222" y="6295400"/>
            <a:ext cx="1692000" cy="252000"/>
          </a:xfrm>
          <a:prstGeom prst="rect">
            <a:avLst/>
          </a:prstGeom>
        </p:spPr>
        <p:txBody>
          <a:bodyPr vert="horz" lIns="91440" tIns="45720" rIns="91440" bIns="45720" rtlCol="0" anchor="ctr"/>
          <a:lstStyle>
            <a:lvl1pPr algn="ctr">
              <a:defRPr sz="1000" cap="all" baseline="0">
                <a:solidFill>
                  <a:schemeClr val="tx1"/>
                </a:solidFill>
              </a:defRPr>
            </a:lvl1pPr>
          </a:lstStyle>
          <a:p>
            <a:fld id="{CC564DCC-93F6-4626-851E-B7512A158F15}" type="datetimeFigureOut">
              <a:rPr lang="en-US" noProof="0" smtClean="0"/>
              <a:pPr/>
              <a:t>3/12/2018</a:t>
            </a:fld>
            <a:endParaRPr lang="en-US" noProof="0" dirty="0"/>
          </a:p>
        </p:txBody>
      </p:sp>
      <p:sp>
        <p:nvSpPr>
          <p:cNvPr id="5" name="Platshållare för sidfot 4"/>
          <p:cNvSpPr>
            <a:spLocks noGrp="1"/>
          </p:cNvSpPr>
          <p:nvPr>
            <p:ph type="ftr" sz="quarter" idx="3"/>
          </p:nvPr>
        </p:nvSpPr>
        <p:spPr>
          <a:xfrm>
            <a:off x="380550" y="6295400"/>
            <a:ext cx="3240000" cy="252000"/>
          </a:xfrm>
          <a:prstGeom prst="rect">
            <a:avLst/>
          </a:prstGeom>
        </p:spPr>
        <p:txBody>
          <a:bodyPr vert="horz" lIns="0" tIns="45720" rIns="0" bIns="45720" rtlCol="0" anchor="ctr"/>
          <a:lstStyle>
            <a:lvl1pPr algn="l">
              <a:defRPr sz="1000" baseline="0">
                <a:solidFill>
                  <a:schemeClr val="tx1"/>
                </a:solidFill>
              </a:defRPr>
            </a:lvl1pPr>
          </a:lstStyle>
          <a:p>
            <a:endParaRPr lang="en-US" noProof="0" dirty="0"/>
          </a:p>
        </p:txBody>
      </p:sp>
      <p:sp>
        <p:nvSpPr>
          <p:cNvPr id="6" name="Platshållare för bildnummer 5"/>
          <p:cNvSpPr>
            <a:spLocks noGrp="1"/>
          </p:cNvSpPr>
          <p:nvPr>
            <p:ph type="sldNum" sz="quarter" idx="4"/>
          </p:nvPr>
        </p:nvSpPr>
        <p:spPr>
          <a:xfrm>
            <a:off x="9527550" y="6295400"/>
            <a:ext cx="2268000" cy="252000"/>
          </a:xfrm>
          <a:prstGeom prst="rect">
            <a:avLst/>
          </a:prstGeom>
        </p:spPr>
        <p:txBody>
          <a:bodyPr vert="horz" lIns="0" tIns="45720" rIns="0" bIns="45720" rtlCol="0" anchor="ctr"/>
          <a:lstStyle>
            <a:lvl1pPr algn="r">
              <a:defRPr sz="1000" baseline="0">
                <a:solidFill>
                  <a:schemeClr val="tx1"/>
                </a:solidFill>
              </a:defRPr>
            </a:lvl1pPr>
          </a:lstStyle>
          <a:p>
            <a:fld id="{9F2427D2-1D7A-43E0-8D06-E65F1A373F4F}" type="slidenum">
              <a:rPr lang="en-US" noProof="0" smtClean="0"/>
              <a:pPr/>
              <a:t>‹#›</a:t>
            </a:fld>
            <a:endParaRPr lang="en-US" noProof="0" dirty="0"/>
          </a:p>
        </p:txBody>
      </p:sp>
      <p:pic>
        <p:nvPicPr>
          <p:cNvPr id="9" name="Bildobjekt 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254001" y="254001"/>
            <a:ext cx="1346200" cy="235092"/>
          </a:xfrm>
          <a:prstGeom prst="rect">
            <a:avLst/>
          </a:prstGeom>
        </p:spPr>
      </p:pic>
    </p:spTree>
    <p:extLst>
      <p:ext uri="{BB962C8B-B14F-4D97-AF65-F5344CB8AC3E}">
        <p14:creationId xmlns:p14="http://schemas.microsoft.com/office/powerpoint/2010/main" val="76578002"/>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txStyles>
    <p:titleStyle>
      <a:lvl1pPr algn="l" defTabSz="914400" rtl="0" eaLnBrk="1" latinLnBrk="0" hangingPunct="1">
        <a:lnSpc>
          <a:spcPts val="4200"/>
        </a:lnSpc>
        <a:spcBef>
          <a:spcPct val="0"/>
        </a:spcBef>
        <a:buNone/>
        <a:defRPr sz="3200" b="0" i="0" kern="1200" baseline="0">
          <a:solidFill>
            <a:schemeClr val="tx1"/>
          </a:solidFill>
          <a:latin typeface="Rockwell Std Light" charset="0"/>
          <a:ea typeface="Rockwell Std Light" charset="0"/>
          <a:cs typeface="Rockwell Std Light" charset="0"/>
        </a:defRPr>
      </a:lvl1pPr>
    </p:titleStyle>
    <p:bodyStyle>
      <a:lvl1pPr marL="180000" indent="-180000" algn="l" defTabSz="914400" rtl="0" eaLnBrk="1" latinLnBrk="0" hangingPunct="1">
        <a:lnSpc>
          <a:spcPts val="2500"/>
        </a:lnSpc>
        <a:spcBef>
          <a:spcPts val="0"/>
        </a:spcBef>
        <a:buClr>
          <a:schemeClr val="accent2"/>
        </a:buClr>
        <a:buFont typeface="Wingdings" charset="2"/>
        <a:buChar char="§"/>
        <a:defRPr sz="1600" kern="1200" baseline="0">
          <a:solidFill>
            <a:schemeClr val="tx1"/>
          </a:solidFill>
          <a:latin typeface="+mn-lt"/>
          <a:ea typeface="+mn-ea"/>
          <a:cs typeface="+mn-cs"/>
        </a:defRPr>
      </a:lvl1pPr>
      <a:lvl2pPr marL="6858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2pPr>
      <a:lvl3pPr marL="11430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3pPr>
      <a:lvl4pPr marL="16002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4pPr>
      <a:lvl5pPr marL="20574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27.png"/><Relationship Id="rId3" Type="http://schemas.openxmlformats.org/officeDocument/2006/relationships/hyperlink" Target="https://azure.microsoft.com/en-us/services/cosmos-db/" TargetMode="External"/><Relationship Id="rId7" Type="http://schemas.openxmlformats.org/officeDocument/2006/relationships/image" Target="../media/image24.png"/><Relationship Id="rId12" Type="http://schemas.openxmlformats.org/officeDocument/2006/relationships/hyperlink" Target="https://azure.microsoft.com/en-us/services/event-grid/" TargetMode="External"/><Relationship Id="rId17" Type="http://schemas.openxmlformats.org/officeDocument/2006/relationships/image" Target="../media/image30.png"/><Relationship Id="rId2" Type="http://schemas.openxmlformats.org/officeDocument/2006/relationships/notesSlide" Target="../notesSlides/notesSlide11.xml"/><Relationship Id="rId16" Type="http://schemas.openxmlformats.org/officeDocument/2006/relationships/image" Target="../media/image29.png"/><Relationship Id="rId1" Type="http://schemas.openxmlformats.org/officeDocument/2006/relationships/slideLayout" Target="../slideLayouts/slideLayout30.xml"/><Relationship Id="rId6" Type="http://schemas.openxmlformats.org/officeDocument/2006/relationships/hyperlink" Target="https://azure.microsoft.com/en-us/services/storage/?v=16.50" TargetMode="External"/><Relationship Id="rId11" Type="http://schemas.openxmlformats.org/officeDocument/2006/relationships/image" Target="../media/image26.png"/><Relationship Id="rId5" Type="http://schemas.microsoft.com/office/2007/relationships/hdphoto" Target="../media/hdphoto1.wdp"/><Relationship Id="rId15" Type="http://schemas.openxmlformats.org/officeDocument/2006/relationships/image" Target="../media/image28.png"/><Relationship Id="rId10" Type="http://schemas.openxmlformats.org/officeDocument/2006/relationships/hyperlink" Target="https://azure.microsoft.com/en-us/services/stream-analytics/" TargetMode="External"/><Relationship Id="rId4" Type="http://schemas.openxmlformats.org/officeDocument/2006/relationships/image" Target="../media/image23.png"/><Relationship Id="rId9" Type="http://schemas.openxmlformats.org/officeDocument/2006/relationships/image" Target="../media/image25.png"/><Relationship Id="rId14" Type="http://schemas.openxmlformats.org/officeDocument/2006/relationships/hyperlink" Target="https://azure.microsoft.com/en-us/services/active-directory/"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3.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18.xml"/><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svg"/><Relationship Id="rId9" Type="http://schemas.openxmlformats.org/officeDocument/2006/relationships/image" Target="../media/image39.png"/><Relationship Id="rId1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34.xml"/><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36.xml"/><Relationship Id="rId5" Type="http://schemas.openxmlformats.org/officeDocument/2006/relationships/image" Target="../media/image49.png"/><Relationship Id="rId4" Type="http://schemas.openxmlformats.org/officeDocument/2006/relationships/image" Target="../media/image48.png"/></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11.xml"/><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8" Type="http://schemas.openxmlformats.org/officeDocument/2006/relationships/hyperlink" Target="https://azure.microsoft.com/en-us/services/active-directory/" TargetMode="External"/><Relationship Id="rId3" Type="http://schemas.openxmlformats.org/officeDocument/2006/relationships/hyperlink" Target="https://azure.microsoft.com/en-us/services/cosmos-db/" TargetMode="External"/><Relationship Id="rId7" Type="http://schemas.openxmlformats.org/officeDocument/2006/relationships/image" Target="../media/image26.png"/><Relationship Id="rId12"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hyperlink" Target="https://azure.microsoft.com/en-us/services/stream-analytics/" TargetMode="External"/><Relationship Id="rId11" Type="http://schemas.openxmlformats.org/officeDocument/2006/relationships/image" Target="../media/image53.svg"/><Relationship Id="rId5" Type="http://schemas.microsoft.com/office/2007/relationships/hdphoto" Target="../media/hdphoto1.wdp"/><Relationship Id="rId10" Type="http://schemas.openxmlformats.org/officeDocument/2006/relationships/image" Target="../media/image52.png"/><Relationship Id="rId4" Type="http://schemas.openxmlformats.org/officeDocument/2006/relationships/image" Target="../media/image23.png"/><Relationship Id="rId9" Type="http://schemas.openxmlformats.org/officeDocument/2006/relationships/image" Target="../media/image2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0.xml"/><Relationship Id="rId1" Type="http://schemas.openxmlformats.org/officeDocument/2006/relationships/slideLayout" Target="../slideLayouts/slideLayout106.xml"/><Relationship Id="rId4" Type="http://schemas.openxmlformats.org/officeDocument/2006/relationships/image" Target="../media/image56.jpeg"/></Relationships>
</file>

<file path=ppt/slides/_rels/slide21.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 Type="http://schemas.openxmlformats.org/officeDocument/2006/relationships/image" Target="../media/image57.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33" Type="http://schemas.openxmlformats.org/officeDocument/2006/relationships/image" Target="../media/image86.png"/><Relationship Id="rId2" Type="http://schemas.openxmlformats.org/officeDocument/2006/relationships/notesSlide" Target="../notesSlides/notesSlide21.xml"/><Relationship Id="rId16" Type="http://schemas.openxmlformats.org/officeDocument/2006/relationships/image" Target="../media/image69.png"/><Relationship Id="rId20" Type="http://schemas.openxmlformats.org/officeDocument/2006/relationships/image" Target="../media/image73.png"/><Relationship Id="rId29" Type="http://schemas.openxmlformats.org/officeDocument/2006/relationships/image" Target="../media/image82.png"/><Relationship Id="rId1" Type="http://schemas.openxmlformats.org/officeDocument/2006/relationships/slideLayout" Target="../slideLayouts/slideLayout11.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png"/><Relationship Id="rId32" Type="http://schemas.openxmlformats.org/officeDocument/2006/relationships/image" Target="../media/image85.png"/><Relationship Id="rId5" Type="http://schemas.microsoft.com/office/2007/relationships/hdphoto" Target="../media/hdphoto2.wdp"/><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png"/><Relationship Id="rId10" Type="http://schemas.openxmlformats.org/officeDocument/2006/relationships/image" Target="../media/image63.png"/><Relationship Id="rId19" Type="http://schemas.openxmlformats.org/officeDocument/2006/relationships/image" Target="../media/image72.png"/><Relationship Id="rId31" Type="http://schemas.openxmlformats.org/officeDocument/2006/relationships/image" Target="../media/image84.png"/><Relationship Id="rId4" Type="http://schemas.openxmlformats.org/officeDocument/2006/relationships/image" Target="../media/image58.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 Id="rId27" Type="http://schemas.openxmlformats.org/officeDocument/2006/relationships/image" Target="../media/image80.png"/><Relationship Id="rId30" Type="http://schemas.openxmlformats.org/officeDocument/2006/relationships/image" Target="../media/image83.png"/></Relationships>
</file>

<file path=ppt/slides/_rels/slide2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2.xml"/><Relationship Id="rId1" Type="http://schemas.openxmlformats.org/officeDocument/2006/relationships/slideLayout" Target="../slideLayouts/slideLayout87.xml"/></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3.xml"/><Relationship Id="rId1" Type="http://schemas.openxmlformats.org/officeDocument/2006/relationships/slideLayout" Target="../slideLayouts/slideLayout87.xml"/></Relationships>
</file>

<file path=ppt/slides/_rels/slide2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4.xml"/><Relationship Id="rId1" Type="http://schemas.openxmlformats.org/officeDocument/2006/relationships/slideLayout" Target="../slideLayouts/slideLayout87.xml"/></Relationships>
</file>

<file path=ppt/slides/_rels/slide2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5.xml"/><Relationship Id="rId1" Type="http://schemas.openxmlformats.org/officeDocument/2006/relationships/slideLayout" Target="../slideLayouts/slideLayout8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99.png"/><Relationship Id="rId3" Type="http://schemas.openxmlformats.org/officeDocument/2006/relationships/image" Target="../media/image91.emf"/><Relationship Id="rId7" Type="http://schemas.openxmlformats.org/officeDocument/2006/relationships/image" Target="../media/image95.png"/><Relationship Id="rId12" Type="http://schemas.openxmlformats.org/officeDocument/2006/relationships/image" Target="../media/image42.png"/><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94.png"/><Relationship Id="rId11" Type="http://schemas.openxmlformats.org/officeDocument/2006/relationships/image" Target="../media/image98.png"/><Relationship Id="rId5" Type="http://schemas.openxmlformats.org/officeDocument/2006/relationships/image" Target="../media/image93.png"/><Relationship Id="rId15" Type="http://schemas.openxmlformats.org/officeDocument/2006/relationships/image" Target="../media/image40.png"/><Relationship Id="rId10" Type="http://schemas.openxmlformats.org/officeDocument/2006/relationships/image" Target="../media/image41.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0.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52.png"/><Relationship Id="rId7" Type="http://schemas.openxmlformats.org/officeDocument/2006/relationships/image" Target="../media/image39.pn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99.png"/><Relationship Id="rId5" Type="http://schemas.openxmlformats.org/officeDocument/2006/relationships/image" Target="../media/image30.png"/><Relationship Id="rId4" Type="http://schemas.openxmlformats.org/officeDocument/2006/relationships/image" Target="../media/image53.svg"/><Relationship Id="rId9" Type="http://schemas.openxmlformats.org/officeDocument/2006/relationships/image" Target="../media/image102.svg"/></Relationships>
</file>

<file path=ppt/slides/_rels/slide32.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3.png"/><Relationship Id="rId7" Type="http://schemas.openxmlformats.org/officeDocument/2006/relationships/image" Target="../media/image105.png"/><Relationship Id="rId2" Type="http://schemas.openxmlformats.org/officeDocument/2006/relationships/notesSlide" Target="../notesSlides/notesSlide32.xml"/><Relationship Id="rId1" Type="http://schemas.openxmlformats.org/officeDocument/2006/relationships/slideLayout" Target="../slideLayouts/slideLayout22.xml"/><Relationship Id="rId6" Type="http://schemas.openxmlformats.org/officeDocument/2006/relationships/image" Target="../media/image104.png"/><Relationship Id="rId11" Type="http://schemas.openxmlformats.org/officeDocument/2006/relationships/hyperlink" Target="http://github.com/Azure-Samples/customer-car-reviews" TargetMode="External"/><Relationship Id="rId5" Type="http://schemas.openxmlformats.org/officeDocument/2006/relationships/image" Target="../media/image95.png"/><Relationship Id="rId10" Type="http://schemas.openxmlformats.org/officeDocument/2006/relationships/image" Target="../media/image108.png"/><Relationship Id="rId4" Type="http://schemas.openxmlformats.org/officeDocument/2006/relationships/image" Target="../media/image49.png"/><Relationship Id="rId9" Type="http://schemas.openxmlformats.org/officeDocument/2006/relationships/image" Target="../media/image107.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4.xml"/><Relationship Id="rId1" Type="http://schemas.openxmlformats.org/officeDocument/2006/relationships/slideLayout" Target="../slideLayouts/slideLayout106.xml"/><Relationship Id="rId4" Type="http://schemas.openxmlformats.org/officeDocument/2006/relationships/image" Target="../media/image56.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1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20.emf"/><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45214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nvGrpSpPr>
          <p:cNvPr id="130" name="Group 129">
            <a:extLst>
              <a:ext uri="{FF2B5EF4-FFF2-40B4-BE49-F238E27FC236}">
                <a16:creationId xmlns:a16="http://schemas.microsoft.com/office/drawing/2014/main" id="{671B8950-F361-4D1B-8532-51F73B1698BD}"/>
              </a:ext>
            </a:extLst>
          </p:cNvPr>
          <p:cNvGrpSpPr/>
          <p:nvPr/>
        </p:nvGrpSpPr>
        <p:grpSpPr>
          <a:xfrm>
            <a:off x="9200463" y="1963644"/>
            <a:ext cx="2993683" cy="2315203"/>
            <a:chOff x="3289988" y="1690688"/>
            <a:chExt cx="3744911" cy="28480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099" y="2417618"/>
              <a:ext cx="1101800"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427824" y="4160138"/>
              <a:ext cx="1355582"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9140259" y="185202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nvGrpSpPr>
          <p:cNvPr id="111" name="Group 110">
            <a:extLst>
              <a:ext uri="{FF2B5EF4-FFF2-40B4-BE49-F238E27FC236}">
                <a16:creationId xmlns:a16="http://schemas.microsoft.com/office/drawing/2014/main" id="{73343923-6037-4D5A-8F94-FCDAC17FD3C3}"/>
              </a:ext>
            </a:extLst>
          </p:cNvPr>
          <p:cNvGrpSpPr/>
          <p:nvPr/>
        </p:nvGrpSpPr>
        <p:grpSpPr>
          <a:xfrm>
            <a:off x="4229235" y="1700693"/>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5109419" y="194664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nvGrpSpPr>
          <p:cNvPr id="147" name="Group 146">
            <a:extLst>
              <a:ext uri="{FF2B5EF4-FFF2-40B4-BE49-F238E27FC236}">
                <a16:creationId xmlns:a16="http://schemas.microsoft.com/office/drawing/2014/main" id="{CFE69381-DF88-4EE9-8330-D0BCBCA8183D}"/>
              </a:ext>
            </a:extLst>
          </p:cNvPr>
          <p:cNvGrpSpPr/>
          <p:nvPr/>
        </p:nvGrpSpPr>
        <p:grpSpPr>
          <a:xfrm>
            <a:off x="4703702" y="4544067"/>
            <a:ext cx="2232265" cy="1810955"/>
            <a:chOff x="4733988" y="2288475"/>
            <a:chExt cx="2232265" cy="1810955"/>
          </a:xfrm>
        </p:grpSpPr>
        <p:sp>
          <p:nvSpPr>
            <p:cNvPr id="148" name="Arrow: Circular 147">
              <a:extLst>
                <a:ext uri="{FF2B5EF4-FFF2-40B4-BE49-F238E27FC236}">
                  <a16:creationId xmlns:a16="http://schemas.microsoft.com/office/drawing/2014/main" id="{B5311E3D-27A3-4207-9DA9-24EC1DE85DCE}"/>
                </a:ext>
              </a:extLst>
            </p:cNvPr>
            <p:cNvSpPr/>
            <p:nvPr/>
          </p:nvSpPr>
          <p:spPr bwMode="auto">
            <a:xfrm rot="10327359">
              <a:off x="5135453" y="2288475"/>
              <a:ext cx="1830800" cy="1810955"/>
            </a:xfrm>
            <a:prstGeom prst="circularArrow">
              <a:avLst>
                <a:gd name="adj1" fmla="val 12500"/>
                <a:gd name="adj2" fmla="val 1142319"/>
                <a:gd name="adj3" fmla="val 20457681"/>
                <a:gd name="adj4" fmla="val 831748"/>
                <a:gd name="adj5" fmla="val 125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9" name="Content Placeholder 3">
              <a:extLst>
                <a:ext uri="{FF2B5EF4-FFF2-40B4-BE49-F238E27FC236}">
                  <a16:creationId xmlns:a16="http://schemas.microsoft.com/office/drawing/2014/main" id="{88E4FDCF-588C-49D7-9FE7-382C4CFA7A34}"/>
                </a:ext>
              </a:extLst>
            </p:cNvPr>
            <p:cNvPicPr>
              <a:picLocks noChangeAspect="1"/>
            </p:cNvPicPr>
            <p:nvPr/>
          </p:nvPicPr>
          <p:blipFill>
            <a:blip r:embed="rId4"/>
            <a:stretch>
              <a:fillRect/>
            </a:stretch>
          </p:blipFill>
          <p:spPr>
            <a:xfrm>
              <a:off x="5720661" y="2850202"/>
              <a:ext cx="716719" cy="666476"/>
            </a:xfrm>
            <a:prstGeom prst="rect">
              <a:avLst/>
            </a:prstGeom>
          </p:spPr>
        </p:pic>
        <p:sp>
          <p:nvSpPr>
            <p:cNvPr id="150" name="Arrow: Right 149">
              <a:extLst>
                <a:ext uri="{FF2B5EF4-FFF2-40B4-BE49-F238E27FC236}">
                  <a16:creationId xmlns:a16="http://schemas.microsoft.com/office/drawing/2014/main" id="{576A8630-7F2B-4010-8BAF-489A66B74159}"/>
                </a:ext>
              </a:extLst>
            </p:cNvPr>
            <p:cNvSpPr/>
            <p:nvPr/>
          </p:nvSpPr>
          <p:spPr>
            <a:xfrm>
              <a:off x="4733988" y="268555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1" name="Arrow: Right 150">
              <a:extLst>
                <a:ext uri="{FF2B5EF4-FFF2-40B4-BE49-F238E27FC236}">
                  <a16:creationId xmlns:a16="http://schemas.microsoft.com/office/drawing/2014/main" id="{3F97A034-FD7B-4984-9844-82B515ED95C0}"/>
                </a:ext>
              </a:extLst>
            </p:cNvPr>
            <p:cNvSpPr/>
            <p:nvPr/>
          </p:nvSpPr>
          <p:spPr>
            <a:xfrm>
              <a:off x="4741810" y="3032853"/>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2" name="Arrow: Right 151">
              <a:extLst>
                <a:ext uri="{FF2B5EF4-FFF2-40B4-BE49-F238E27FC236}">
                  <a16:creationId xmlns:a16="http://schemas.microsoft.com/office/drawing/2014/main" id="{FAF3521D-EB56-4691-ADF0-8DAF4ED09BA6}"/>
                </a:ext>
              </a:extLst>
            </p:cNvPr>
            <p:cNvSpPr/>
            <p:nvPr/>
          </p:nvSpPr>
          <p:spPr>
            <a:xfrm>
              <a:off x="4741810" y="3350061"/>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3" name="Arrow: Right 152">
              <a:extLst>
                <a:ext uri="{FF2B5EF4-FFF2-40B4-BE49-F238E27FC236}">
                  <a16:creationId xmlns:a16="http://schemas.microsoft.com/office/drawing/2014/main" id="{DA01D396-2EF0-44A6-9CBC-9EDF6193A169}"/>
                </a:ext>
              </a:extLst>
            </p:cNvPr>
            <p:cNvSpPr/>
            <p:nvPr/>
          </p:nvSpPr>
          <p:spPr>
            <a:xfrm>
              <a:off x="4741810" y="366309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5"/>
                                        </p:tgtEl>
                                        <p:attrNameLst>
                                          <p:attrName>style.visibility</p:attrName>
                                        </p:attrNameLst>
                                      </p:cBhvr>
                                      <p:to>
                                        <p:strVal val="visible"/>
                                      </p:to>
                                    </p:set>
                                    <p:animEffect transition="in" filter="fade">
                                      <p:cBhvr>
                                        <p:cTn id="18" dur="500"/>
                                        <p:tgtEl>
                                          <p:spTgt spid="15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0"/>
                                        </p:tgtEl>
                                        <p:attrNameLst>
                                          <p:attrName>style.visibility</p:attrName>
                                        </p:attrNameLst>
                                      </p:cBhvr>
                                      <p:to>
                                        <p:strVal val="visible"/>
                                      </p:to>
                                    </p:set>
                                    <p:animEffect transition="in" filter="fade">
                                      <p:cBhvr>
                                        <p:cTn id="23" dur="500"/>
                                        <p:tgtEl>
                                          <p:spTgt spid="13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4"/>
                                        </p:tgtEl>
                                        <p:attrNameLst>
                                          <p:attrName>style.visibility</p:attrName>
                                        </p:attrNameLst>
                                      </p:cBhvr>
                                      <p:to>
                                        <p:strVal val="visible"/>
                                      </p:to>
                                    </p:set>
                                    <p:animEffect transition="in" filter="fade">
                                      <p:cBhvr>
                                        <p:cTn id="26" dur="500"/>
                                        <p:tgtEl>
                                          <p:spTgt spid="15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6"/>
                                        </p:tgtEl>
                                        <p:attrNameLst>
                                          <p:attrName>style.visibility</p:attrName>
                                        </p:attrNameLst>
                                      </p:cBhvr>
                                      <p:to>
                                        <p:strVal val="visible"/>
                                      </p:to>
                                    </p:set>
                                    <p:animEffect transition="in" filter="fade">
                                      <p:cBhvr>
                                        <p:cTn id="34" dur="500"/>
                                        <p:tgtEl>
                                          <p:spTgt spid="15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46"/>
                                        </p:tgtEl>
                                        <p:attrNameLst>
                                          <p:attrName>style.visibility</p:attrName>
                                        </p:attrNameLst>
                                      </p:cBhvr>
                                      <p:to>
                                        <p:strVal val="visible"/>
                                      </p:to>
                                    </p:set>
                                    <p:animEffect transition="in" filter="fade">
                                      <p:cBhvr>
                                        <p:cTn id="39" dur="500"/>
                                        <p:tgtEl>
                                          <p:spTgt spid="1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7"/>
                                        </p:tgtEl>
                                        <p:attrNameLst>
                                          <p:attrName>style.visibility</p:attrName>
                                        </p:attrNameLst>
                                      </p:cBhvr>
                                      <p:to>
                                        <p:strVal val="visible"/>
                                      </p:to>
                                    </p:set>
                                    <p:animEffect transition="in" filter="fade">
                                      <p:cBhvr>
                                        <p:cTn id="42"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4" grpId="0" animBg="1"/>
      <p:bldP spid="155" grpId="0" animBg="1"/>
      <p:bldP spid="156" grpId="0" animBg="1"/>
      <p:bldP spid="15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6"/>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7">
            <a:biLevel thresh="25000"/>
            <a:extLst>
              <a:ext uri="{28A0092B-C50C-407E-A947-70E740481C1C}">
                <a14:useLocalDpi xmlns:a14="http://schemas.microsoft.com/office/drawing/2010/main" val="0"/>
              </a:ext>
            </a:extLst>
          </a:blip>
          <a:srcRect t="7228" b="7991"/>
          <a:stretch/>
        </p:blipFill>
        <p:spPr bwMode="auto">
          <a:xfrm>
            <a:off x="10574768" y="5771602"/>
            <a:ext cx="536919" cy="45521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8"/>
            <a:extLst>
              <a:ext uri="{FF2B5EF4-FFF2-40B4-BE49-F238E27FC236}">
                <a16:creationId xmlns:a16="http://schemas.microsoft.com/office/drawing/2014/main" id="{AD844650-CF5F-47A0-93CA-0DACD0DD31F6}"/>
              </a:ext>
            </a:extLst>
          </p:cNvPr>
          <p:cNvPicPr>
            <a:picLocks noChangeAspect="1" noChangeArrowheads="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10621030" y="4064276"/>
            <a:ext cx="444394" cy="444394"/>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Local Development</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Monitoring</a:t>
            </a:r>
          </a:p>
        </p:txBody>
      </p:sp>
      <p:sp>
        <p:nvSpPr>
          <p:cNvPr id="67" name="Freeform 33"/>
          <p:cNvSpPr>
            <a:spLocks noEditPoints="1"/>
          </p:cNvSpPr>
          <p:nvPr/>
        </p:nvSpPr>
        <p:spPr bwMode="auto">
          <a:xfrm>
            <a:off x="617374" y="2442914"/>
            <a:ext cx="360666" cy="325243"/>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curely provide access to information in Microsoft Graph through a function</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from a real-time analytics pipeline in Stream Analytic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elop functions locally on Linux, MacOS, Window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nitor serverless applications using Application Insights</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904" y="4775182"/>
            <a:ext cx="5560940" cy="1791670"/>
          </a:xfrm>
        </p:spPr>
        <p:txBody>
          <a:bodyPr/>
          <a:lstStyle/>
          <a:p>
            <a:r>
              <a:rPr lang="sv-SE" sz="2800" dirty="0"/>
              <a:t>Henrik Fransas</a:t>
            </a:r>
            <a:br>
              <a:rPr lang="sv-SE" sz="2800" dirty="0"/>
            </a:br>
            <a:br>
              <a:rPr lang="sv-SE" sz="2800" dirty="0"/>
            </a:br>
            <a:r>
              <a:rPr lang="sv-SE" sz="2800" dirty="0"/>
              <a:t>Lab: Episerverless = Azure Functions + Episerver</a:t>
            </a:r>
            <a:br>
              <a:rPr lang="sv-SE" sz="2800" dirty="0"/>
            </a:br>
            <a:br>
              <a:rPr lang="sv-SE" sz="2800" dirty="0"/>
            </a:br>
            <a:r>
              <a:rPr lang="sv-SE" sz="2800" dirty="0"/>
              <a:t>3:15pm today</a:t>
            </a:r>
            <a:br>
              <a:rPr lang="sv-SE" sz="2800" dirty="0"/>
            </a:br>
            <a:r>
              <a:rPr lang="sv-SE" sz="2800" dirty="0"/>
              <a:t>Starvine  4</a:t>
            </a:r>
          </a:p>
        </p:txBody>
      </p:sp>
      <p:sp>
        <p:nvSpPr>
          <p:cNvPr id="3" name="Text Placeholder 2"/>
          <p:cNvSpPr>
            <a:spLocks noGrp="1"/>
          </p:cNvSpPr>
          <p:nvPr>
            <p:ph type="body" sz="quarter" idx="10"/>
          </p:nvPr>
        </p:nvSpPr>
        <p:spPr>
          <a:xfrm>
            <a:off x="6400799" y="1623156"/>
            <a:ext cx="5683251" cy="4711540"/>
          </a:xfrm>
        </p:spPr>
        <p:txBody>
          <a:bodyPr/>
          <a:lstStyle/>
          <a:p>
            <a:pPr marL="285750" indent="-285750">
              <a:spcAft>
                <a:spcPts val="1800"/>
              </a:spcAft>
            </a:pPr>
            <a:r>
              <a:rPr lang="en-US" sz="2400" dirty="0"/>
              <a:t>System developer since 1999</a:t>
            </a:r>
          </a:p>
          <a:p>
            <a:pPr marL="285750" indent="-285750">
              <a:spcAft>
                <a:spcPts val="1800"/>
              </a:spcAft>
            </a:pPr>
            <a:r>
              <a:rPr lang="en-US" sz="2400" dirty="0"/>
              <a:t>Episerver Most Valuable Professional (EMVP)</a:t>
            </a:r>
          </a:p>
          <a:p>
            <a:pPr marL="285750" indent="-285750">
              <a:spcAft>
                <a:spcPts val="1800"/>
              </a:spcAft>
            </a:pPr>
            <a:r>
              <a:rPr lang="en-US" sz="2400" dirty="0"/>
              <a:t>Episerver Technical Trainer</a:t>
            </a:r>
          </a:p>
          <a:p>
            <a:pPr marL="285750" indent="-285750">
              <a:spcAft>
                <a:spcPts val="1800"/>
              </a:spcAft>
            </a:pPr>
            <a:r>
              <a:rPr lang="en-US" sz="2400" dirty="0"/>
              <a:t>Azure nerd</a:t>
            </a:r>
          </a:p>
          <a:p>
            <a:pPr marL="285750" indent="-285750">
              <a:spcAft>
                <a:spcPts val="1800"/>
              </a:spcAft>
            </a:pPr>
            <a:r>
              <a:rPr lang="en-US" sz="2400" dirty="0"/>
              <a:t>Works at NetRelations</a:t>
            </a:r>
          </a:p>
        </p:txBody>
      </p:sp>
      <p:pic>
        <p:nvPicPr>
          <p:cNvPr id="19" name="Bildobjekt 18">
            <a:extLst>
              <a:ext uri="{FF2B5EF4-FFF2-40B4-BE49-F238E27FC236}">
                <a16:creationId xmlns:a16="http://schemas.microsoft.com/office/drawing/2014/main" id="{257D776D-2BB6-4684-830B-4F53BBA27A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7126" y="737704"/>
            <a:ext cx="2573541" cy="2536056"/>
          </a:xfrm>
          <a:prstGeom prst="rect">
            <a:avLst/>
          </a:prstGeom>
        </p:spPr>
      </p:pic>
      <p:pic>
        <p:nvPicPr>
          <p:cNvPr id="26" name="Picture 2">
            <a:extLst>
              <a:ext uri="{FF2B5EF4-FFF2-40B4-BE49-F238E27FC236}">
                <a16:creationId xmlns:a16="http://schemas.microsoft.com/office/drawing/2014/main" id="{0E39B4A8-2727-46A2-8517-1C621445B1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12470" y="5231816"/>
            <a:ext cx="1102880" cy="110288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413581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46510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86019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70609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81155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78275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65854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58588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53896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36722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27819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33720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57819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52955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814617"/>
            <a:ext cx="741996" cy="14326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439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527075"/>
            <a:ext cx="741996" cy="7202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244009"/>
            <a:ext cx="741996" cy="32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7181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rgbClr val="FF3399"/>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994639" y="5297791"/>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rgbClr val="FF339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473207" y="4383199"/>
            <a:ext cx="9402" cy="1050059"/>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36382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511941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33644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7199266"/>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3322300" cy="5829288"/>
          </a:xfrm>
        </p:spPr>
        <p:txBody>
          <a:bodyPr/>
          <a:lstStyle/>
          <a:p>
            <a:r>
              <a:rPr lang="en-US" sz="1400" dirty="0"/>
              <a:t>[{</a:t>
            </a:r>
          </a:p>
          <a:p>
            <a:r>
              <a:rPr lang="en-US" sz="1400" dirty="0"/>
              <a:t>   </a:t>
            </a:r>
            <a:r>
              <a:rPr lang="en-US" sz="1400" dirty="0">
                <a:solidFill>
                  <a:srgbClr val="C00000"/>
                </a:solidFill>
              </a:rPr>
              <a:t>"topic"</a:t>
            </a:r>
            <a:r>
              <a:rPr lang="en-US" sz="1400" dirty="0"/>
              <a:t>: </a:t>
            </a:r>
            <a:r>
              <a:rPr lang="en-US" sz="1300" dirty="0">
                <a:solidFill>
                  <a:srgbClr val="004B1C"/>
                </a:solidFill>
              </a:rPr>
              <a:t>"/subscriptions/{subscription-id}/</a:t>
            </a:r>
            <a:r>
              <a:rPr lang="en-US" sz="1300" dirty="0" err="1">
                <a:solidFill>
                  <a:srgbClr val="004B1C"/>
                </a:solidFill>
              </a:rPr>
              <a:t>resourceGroups</a:t>
            </a:r>
            <a:r>
              <a:rPr lang="en-US" sz="1300" dirty="0">
                <a:solidFill>
                  <a:srgbClr val="004B1C"/>
                </a:solidFill>
              </a:rPr>
              <a:t>/ascend/providers/</a:t>
            </a:r>
            <a:r>
              <a:rPr lang="en-US" sz="1300" dirty="0" err="1">
                <a:solidFill>
                  <a:srgbClr val="004B1C"/>
                </a:solidFill>
              </a:rPr>
              <a:t>Microsoft.Storage</a:t>
            </a:r>
            <a:r>
              <a:rPr lang="en-US" sz="1300" dirty="0">
                <a:solidFill>
                  <a:srgbClr val="004B1C"/>
                </a:solidFill>
              </a:rPr>
              <a:t>/</a:t>
            </a:r>
            <a:r>
              <a:rPr lang="en-US" sz="1300" dirty="0" err="1">
                <a:solidFill>
                  <a:srgbClr val="004B1C"/>
                </a:solidFill>
              </a:rPr>
              <a:t>storageAccounts</a:t>
            </a:r>
            <a:r>
              <a:rPr lang="en-US" sz="1300" dirty="0">
                <a:solidFill>
                  <a:srgbClr val="004B1C"/>
                </a:solidFill>
              </a:rPr>
              <a:t>/</a:t>
            </a:r>
            <a:r>
              <a:rPr lang="en-US" sz="1300" dirty="0" err="1">
                <a:solidFill>
                  <a:srgbClr val="004B1C"/>
                </a:solidFill>
              </a:rPr>
              <a:t>mcollierascend</a:t>
            </a:r>
            <a:r>
              <a:rPr lang="en-US" sz="1300" dirty="0">
                <a:solidFill>
                  <a:srgbClr val="004B1C"/>
                </a:solidFill>
              </a:rPr>
              <a:t>"</a:t>
            </a:r>
            <a:r>
              <a:rPr lang="en-US" sz="1300" dirty="0"/>
              <a:t>,</a:t>
            </a:r>
          </a:p>
          <a:p>
            <a:r>
              <a:rPr lang="en-US" sz="1400" dirty="0"/>
              <a:t>   </a:t>
            </a:r>
            <a:r>
              <a:rPr lang="en-US" sz="1400" dirty="0">
                <a:solidFill>
                  <a:srgbClr val="C00000"/>
                </a:solidFill>
              </a:rPr>
              <a:t>"subject"</a:t>
            </a:r>
            <a:r>
              <a:rPr lang="en-US" sz="1400" dirty="0"/>
              <a:t>: </a:t>
            </a:r>
            <a:r>
              <a:rPr lang="en-US" sz="1400" dirty="0">
                <a:solidFill>
                  <a:srgbClr val="004B1C"/>
                </a:solidFill>
              </a:rPr>
              <a:t>"/</a:t>
            </a:r>
            <a:r>
              <a:rPr lang="en-US" sz="1400" dirty="0" err="1">
                <a:solidFill>
                  <a:srgbClr val="004B1C"/>
                </a:solidFill>
              </a:rPr>
              <a:t>blobServices</a:t>
            </a:r>
            <a:r>
              <a:rPr lang="en-US" sz="1400" dirty="0">
                <a:solidFill>
                  <a:srgbClr val="004B1C"/>
                </a:solidFill>
              </a:rPr>
              <a:t>/default/containers/sample/blobs/michael.collier.jpg"</a:t>
            </a:r>
            <a:r>
              <a:rPr lang="en-US" sz="1400" dirty="0"/>
              <a:t>,</a:t>
            </a:r>
          </a:p>
          <a:p>
            <a:r>
              <a:rPr lang="en-US" sz="1400" dirty="0"/>
              <a:t>   </a:t>
            </a:r>
            <a:r>
              <a:rPr lang="en-US" sz="1400" dirty="0">
                <a:solidFill>
                  <a:srgbClr val="C00000"/>
                </a:solidFill>
              </a:rPr>
              <a:t>"</a:t>
            </a:r>
            <a:r>
              <a:rPr lang="en-US" sz="1400" dirty="0" err="1">
                <a:solidFill>
                  <a:srgbClr val="C00000"/>
                </a:solidFill>
              </a:rPr>
              <a:t>event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Microsoft.Storage.BlobCreated</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eventTime</a:t>
            </a:r>
            <a:r>
              <a:rPr lang="en-US" sz="1400" dirty="0">
                <a:solidFill>
                  <a:srgbClr val="C00000"/>
                </a:solidFill>
              </a:rPr>
              <a:t>"</a:t>
            </a:r>
            <a:r>
              <a:rPr lang="en-US" sz="1400" dirty="0"/>
              <a:t>: </a:t>
            </a:r>
            <a:r>
              <a:rPr lang="en-US" sz="1400" dirty="0">
                <a:solidFill>
                  <a:srgbClr val="004B1C"/>
                </a:solidFill>
              </a:rPr>
              <a:t>"2018-03-08T02:32:32.3138466Z"</a:t>
            </a:r>
            <a:r>
              <a:rPr lang="en-US" sz="1400" dirty="0"/>
              <a:t>,</a:t>
            </a:r>
          </a:p>
          <a:p>
            <a:r>
              <a:rPr lang="en-US" sz="1400" dirty="0"/>
              <a:t>   </a:t>
            </a:r>
            <a:r>
              <a:rPr lang="en-US" sz="1400" dirty="0">
                <a:solidFill>
                  <a:srgbClr val="C00000"/>
                </a:solidFill>
              </a:rPr>
              <a:t>"id"</a:t>
            </a:r>
            <a:r>
              <a:rPr lang="en-US" sz="1400" dirty="0"/>
              <a:t>: </a:t>
            </a:r>
            <a:r>
              <a:rPr lang="en-US" sz="1400" dirty="0">
                <a:solidFill>
                  <a:srgbClr val="004B1C"/>
                </a:solidFill>
              </a:rPr>
              <a:t>"60b827dd-701e-010a-2e85-b6ba5f0618c4"</a:t>
            </a:r>
            <a:r>
              <a:rPr lang="en-US" sz="1400" dirty="0"/>
              <a:t>,</a:t>
            </a:r>
          </a:p>
          <a:p>
            <a:r>
              <a:rPr lang="en-US" sz="1400" dirty="0"/>
              <a:t>   </a:t>
            </a:r>
            <a:r>
              <a:rPr lang="en-US" sz="1400" dirty="0">
                <a:solidFill>
                  <a:srgbClr val="C00000"/>
                </a:solidFill>
              </a:rPr>
              <a:t>"data"</a:t>
            </a:r>
            <a:r>
              <a:rPr lang="en-US" sz="1400" dirty="0"/>
              <a:t>: {</a:t>
            </a:r>
          </a:p>
          <a:p>
            <a:r>
              <a:rPr lang="en-US" sz="1400" dirty="0"/>
              <a:t>      </a:t>
            </a:r>
            <a:r>
              <a:rPr lang="en-US" sz="1400" dirty="0">
                <a:solidFill>
                  <a:srgbClr val="C00000"/>
                </a:solidFill>
              </a:rPr>
              <a:t>"</a:t>
            </a:r>
            <a:r>
              <a:rPr lang="en-US" sz="1400" dirty="0" err="1">
                <a:solidFill>
                  <a:srgbClr val="C00000"/>
                </a:solidFill>
              </a:rPr>
              <a:t>api</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PutBlockList</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clientRequestId</a:t>
            </a:r>
            <a:r>
              <a:rPr lang="en-US" sz="1400" dirty="0">
                <a:solidFill>
                  <a:srgbClr val="C00000"/>
                </a:solidFill>
              </a:rPr>
              <a:t>"</a:t>
            </a:r>
            <a:r>
              <a:rPr lang="en-US" sz="1400" dirty="0"/>
              <a:t>: </a:t>
            </a:r>
            <a:r>
              <a:rPr lang="en-US" sz="1400" dirty="0">
                <a:solidFill>
                  <a:srgbClr val="004B1C"/>
                </a:solidFill>
              </a:rPr>
              <a:t>"580ebc71-0b38-4e13-9c3e-5db169ad2032"</a:t>
            </a:r>
            <a:r>
              <a:rPr lang="en-US" sz="1400" dirty="0"/>
              <a:t>,</a:t>
            </a:r>
          </a:p>
          <a:p>
            <a:r>
              <a:rPr lang="en-US" sz="1400" dirty="0"/>
              <a:t>      </a:t>
            </a:r>
            <a:r>
              <a:rPr lang="en-US" sz="1400" dirty="0">
                <a:solidFill>
                  <a:srgbClr val="C00000"/>
                </a:solidFill>
              </a:rPr>
              <a:t>"</a:t>
            </a:r>
            <a:r>
              <a:rPr lang="en-US" sz="1400" dirty="0" err="1">
                <a:solidFill>
                  <a:srgbClr val="C00000"/>
                </a:solidFill>
              </a:rPr>
              <a:t>requestId</a:t>
            </a:r>
            <a:r>
              <a:rPr lang="en-US" sz="1400" dirty="0">
                <a:solidFill>
                  <a:srgbClr val="C00000"/>
                </a:solidFill>
              </a:rPr>
              <a:t>"</a:t>
            </a:r>
            <a:r>
              <a:rPr lang="en-US" sz="1400" dirty="0"/>
              <a:t>: </a:t>
            </a:r>
            <a:r>
              <a:rPr lang="en-US" sz="1400" dirty="0">
                <a:solidFill>
                  <a:srgbClr val="004B1C"/>
                </a:solidFill>
              </a:rPr>
              <a:t>"60b827dd-701e-010a-2e85-b6ba5f000000"</a:t>
            </a:r>
            <a:r>
              <a:rPr lang="en-US" sz="1400" dirty="0"/>
              <a:t>,</a:t>
            </a:r>
          </a:p>
          <a:p>
            <a:r>
              <a:rPr lang="en-US" sz="1400" dirty="0"/>
              <a:t>      </a:t>
            </a:r>
            <a:r>
              <a:rPr lang="en-US" sz="1400" dirty="0">
                <a:solidFill>
                  <a:srgbClr val="C00000"/>
                </a:solidFill>
              </a:rPr>
              <a:t>"</a:t>
            </a:r>
            <a:r>
              <a:rPr lang="en-US" sz="1400" dirty="0" err="1">
                <a:solidFill>
                  <a:srgbClr val="C00000"/>
                </a:solidFill>
              </a:rPr>
              <a:t>eTag</a:t>
            </a:r>
            <a:r>
              <a:rPr lang="en-US" sz="1400" dirty="0">
                <a:solidFill>
                  <a:srgbClr val="C00000"/>
                </a:solidFill>
              </a:rPr>
              <a:t>"</a:t>
            </a:r>
            <a:r>
              <a:rPr lang="en-US" sz="1400" dirty="0"/>
              <a:t>: </a:t>
            </a:r>
            <a:r>
              <a:rPr lang="en-US" sz="1400" dirty="0">
                <a:solidFill>
                  <a:srgbClr val="004B1C"/>
                </a:solidFill>
              </a:rPr>
              <a:t>"0x8D5849CD8572590"</a:t>
            </a:r>
            <a:r>
              <a:rPr lang="en-US" sz="1400" dirty="0"/>
              <a:t>,</a:t>
            </a:r>
          </a:p>
          <a:p>
            <a:r>
              <a:rPr lang="en-US" sz="1400" dirty="0"/>
              <a:t>      </a:t>
            </a:r>
            <a:r>
              <a:rPr lang="en-US" sz="1400" dirty="0">
                <a:solidFill>
                  <a:srgbClr val="C00000"/>
                </a:solidFill>
              </a:rPr>
              <a:t>"</a:t>
            </a:r>
            <a:r>
              <a:rPr lang="en-US" sz="1400" dirty="0" err="1">
                <a:solidFill>
                  <a:srgbClr val="C00000"/>
                </a:solidFill>
              </a:rPr>
              <a:t>contentType</a:t>
            </a:r>
            <a:r>
              <a:rPr lang="en-US" sz="1400" dirty="0">
                <a:solidFill>
                  <a:srgbClr val="C00000"/>
                </a:solidFill>
              </a:rPr>
              <a:t>"</a:t>
            </a:r>
            <a:r>
              <a:rPr lang="en-US" sz="1400" dirty="0"/>
              <a:t>: </a:t>
            </a:r>
            <a:r>
              <a:rPr lang="en-US" sz="1400" dirty="0">
                <a:solidFill>
                  <a:srgbClr val="004B1C"/>
                </a:solidFill>
              </a:rPr>
              <a:t>"image/jpeg"</a:t>
            </a:r>
            <a:r>
              <a:rPr lang="en-US" sz="1400" dirty="0"/>
              <a:t>,</a:t>
            </a:r>
          </a:p>
          <a:p>
            <a:r>
              <a:rPr lang="en-US" sz="1400" dirty="0"/>
              <a:t>      </a:t>
            </a:r>
            <a:r>
              <a:rPr lang="en-US" sz="1400" dirty="0">
                <a:solidFill>
                  <a:srgbClr val="C00000"/>
                </a:solidFill>
              </a:rPr>
              <a:t>"</a:t>
            </a:r>
            <a:r>
              <a:rPr lang="en-US" sz="1400" dirty="0" err="1">
                <a:solidFill>
                  <a:srgbClr val="C00000"/>
                </a:solidFill>
              </a:rPr>
              <a:t>contentLength</a:t>
            </a:r>
            <a:r>
              <a:rPr lang="en-US" sz="1400" dirty="0">
                <a:solidFill>
                  <a:srgbClr val="C00000"/>
                </a:solidFill>
              </a:rPr>
              <a:t>"</a:t>
            </a:r>
            <a:r>
              <a:rPr lang="en-US" sz="1400" dirty="0"/>
              <a:t>: 687245,</a:t>
            </a:r>
          </a:p>
          <a:p>
            <a:r>
              <a:rPr lang="en-US" sz="1400" dirty="0"/>
              <a:t>      </a:t>
            </a:r>
            <a:r>
              <a:rPr lang="en-US" sz="1400" dirty="0">
                <a:solidFill>
                  <a:srgbClr val="C00000"/>
                </a:solidFill>
              </a:rPr>
              <a:t>"</a:t>
            </a:r>
            <a:r>
              <a:rPr lang="en-US" sz="1400" dirty="0" err="1">
                <a:solidFill>
                  <a:srgbClr val="C00000"/>
                </a:solidFill>
              </a:rPr>
              <a:t>blob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BlockBlob</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url</a:t>
            </a:r>
            <a:r>
              <a:rPr lang="en-US" sz="1400" dirty="0">
                <a:solidFill>
                  <a:srgbClr val="C00000"/>
                </a:solidFill>
              </a:rPr>
              <a:t>"</a:t>
            </a:r>
            <a:r>
              <a:rPr lang="en-US" sz="1400" dirty="0"/>
              <a:t>: </a:t>
            </a:r>
            <a:r>
              <a:rPr lang="en-US" sz="1400" dirty="0">
                <a:solidFill>
                  <a:srgbClr val="004B1C"/>
                </a:solidFill>
              </a:rPr>
              <a:t>"https://mcollierascend.blob.core.windows.net/sample/michael.collier.jpg"</a:t>
            </a:r>
            <a:r>
              <a:rPr lang="en-US" sz="1400" dirty="0"/>
              <a:t>,</a:t>
            </a:r>
          </a:p>
          <a:p>
            <a:r>
              <a:rPr lang="en-US" sz="1400" dirty="0"/>
              <a:t>      </a:t>
            </a:r>
            <a:r>
              <a:rPr lang="en-US" sz="1400" dirty="0">
                <a:solidFill>
                  <a:srgbClr val="C00000"/>
                </a:solidFill>
              </a:rPr>
              <a:t>"sequencer"</a:t>
            </a:r>
            <a:r>
              <a:rPr lang="en-US" sz="1400" dirty="0"/>
              <a:t>: </a:t>
            </a:r>
            <a:r>
              <a:rPr lang="en-US" sz="1400" dirty="0">
                <a:solidFill>
                  <a:srgbClr val="004B1C"/>
                </a:solidFill>
              </a:rPr>
              <a:t>"0000000000000000000000000000043C00000000004b90e3"</a:t>
            </a:r>
            <a:r>
              <a:rPr lang="en-US" sz="1400" dirty="0"/>
              <a:t>,</a:t>
            </a:r>
          </a:p>
          <a:p>
            <a:r>
              <a:rPr lang="en-US" sz="1400" dirty="0"/>
              <a:t>      </a:t>
            </a:r>
            <a:r>
              <a:rPr lang="en-US" sz="1400" dirty="0">
                <a:solidFill>
                  <a:srgbClr val="C00000"/>
                </a:solidFill>
              </a:rPr>
              <a:t>"</a:t>
            </a:r>
            <a:r>
              <a:rPr lang="en-US" sz="1400" dirty="0" err="1">
                <a:solidFill>
                  <a:srgbClr val="C00000"/>
                </a:solidFill>
              </a:rPr>
              <a:t>storageDiagnostics</a:t>
            </a:r>
            <a:r>
              <a:rPr lang="en-US" sz="1400" dirty="0">
                <a:solidFill>
                  <a:srgbClr val="C00000"/>
                </a:solidFill>
              </a:rPr>
              <a:t>"</a:t>
            </a:r>
            <a:r>
              <a:rPr lang="en-US" sz="1400" dirty="0"/>
              <a:t>: {</a:t>
            </a:r>
          </a:p>
          <a:p>
            <a:r>
              <a:rPr lang="en-US" sz="1400" dirty="0"/>
              <a:t>         </a:t>
            </a:r>
            <a:r>
              <a:rPr lang="en-US" sz="1400" dirty="0">
                <a:solidFill>
                  <a:srgbClr val="C00000"/>
                </a:solidFill>
              </a:rPr>
              <a:t>"</a:t>
            </a:r>
            <a:r>
              <a:rPr lang="en-US" sz="1400" dirty="0" err="1">
                <a:solidFill>
                  <a:srgbClr val="C00000"/>
                </a:solidFill>
              </a:rPr>
              <a:t>batchId</a:t>
            </a:r>
            <a:r>
              <a:rPr lang="en-US" sz="1400" dirty="0">
                <a:solidFill>
                  <a:srgbClr val="C00000"/>
                </a:solidFill>
              </a:rPr>
              <a:t>"</a:t>
            </a:r>
            <a:r>
              <a:rPr lang="en-US" sz="1400" dirty="0"/>
              <a:t>: </a:t>
            </a:r>
            <a:r>
              <a:rPr lang="en-US" sz="1400" dirty="0">
                <a:solidFill>
                  <a:srgbClr val="004B1C"/>
                </a:solidFill>
              </a:rPr>
              <a:t>"11c2a1b3-013f-4c7a-a31e-cf455a2c7d3f"</a:t>
            </a:r>
          </a:p>
          <a:p>
            <a:r>
              <a:rPr lang="en-US" sz="1400" dirty="0"/>
              <a:t>      }</a:t>
            </a:r>
          </a:p>
          <a:p>
            <a:r>
              <a:rPr lang="en-US" sz="1400" dirty="0"/>
              <a:t>   },</a:t>
            </a:r>
          </a:p>
          <a:p>
            <a:r>
              <a:rPr lang="en-US" sz="1400" dirty="0"/>
              <a:t>   </a:t>
            </a:r>
            <a:r>
              <a:rPr lang="en-US" sz="1400" dirty="0">
                <a:solidFill>
                  <a:srgbClr val="C00000"/>
                </a:solidFill>
              </a:rPr>
              <a:t>"</a:t>
            </a:r>
            <a:r>
              <a:rPr lang="en-US" sz="1400" dirty="0" err="1">
                <a:solidFill>
                  <a:srgbClr val="C00000"/>
                </a:solidFill>
              </a:rPr>
              <a:t>dataVersion</a:t>
            </a:r>
            <a:r>
              <a:rPr lang="en-US" sz="1400" dirty="0">
                <a:solidFill>
                  <a:srgbClr val="C00000"/>
                </a:solidFill>
              </a:rPr>
              <a:t>"</a:t>
            </a:r>
            <a:r>
              <a:rPr lang="en-US" sz="1400" dirty="0"/>
              <a:t>: </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metadataVersion</a:t>
            </a:r>
            <a:r>
              <a:rPr lang="en-US" sz="1400" dirty="0">
                <a:solidFill>
                  <a:srgbClr val="C00000"/>
                </a:solidFill>
              </a:rPr>
              <a:t>"</a:t>
            </a:r>
            <a:r>
              <a:rPr lang="en-US" sz="1400" dirty="0"/>
              <a:t>: </a:t>
            </a:r>
            <a:r>
              <a:rPr lang="en-US" sz="1400" dirty="0">
                <a:solidFill>
                  <a:srgbClr val="004B1C"/>
                </a:solidFill>
              </a:rPr>
              <a:t>"1"</a:t>
            </a:r>
          </a:p>
          <a:p>
            <a:r>
              <a:rPr lang="en-US" sz="1400" dirty="0"/>
              <a:t>}]</a:t>
            </a:r>
          </a:p>
          <a:p>
            <a:endParaRPr lang="en-US" sz="14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gn="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8782050" y="2895600"/>
            <a:ext cx="386174" cy="30225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9083558" y="409034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4" y="2851150"/>
            <a:ext cx="8374475" cy="3067049"/>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torage (GPv2), Service Bus,       IoT Hu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Event Hub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10 major regions (Asia, US, Europe)</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 (soon)</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Handler</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Publisher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7" name="Picture 6" descr="A picture containing vector graphics&#10;&#10;Description generated with high confidence">
            <a:extLst>
              <a:ext uri="{FF2B5EF4-FFF2-40B4-BE49-F238E27FC236}">
                <a16:creationId xmlns:a16="http://schemas.microsoft.com/office/drawing/2014/main" id="{6C9AF421-0E93-4E51-9F48-FB1ABF74855F}"/>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912714" y="2338731"/>
            <a:ext cx="418256" cy="418256"/>
          </a:xfrm>
          <a:prstGeom prst="rect">
            <a:avLst/>
          </a:prstGeom>
        </p:spPr>
      </p:pic>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2E79F6A6-AF85-EE41-ADDF-1DBAC9E3838C}"/>
              </a:ext>
            </a:extLst>
          </p:cNvPr>
          <p:cNvSpPr txBox="1"/>
          <p:nvPr/>
        </p:nvSpPr>
        <p:spPr>
          <a:xfrm>
            <a:off x="7640265" y="-13983"/>
            <a:ext cx="468776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hlinkClick r:id="rId11"/>
              </a:rPr>
              <a:t>http://github.com/Azure-Samples/customer-car-reviews</a:t>
            </a:r>
            <a:endParaRPr lang="en-US" sz="1372" dirty="0">
              <a:gradFill>
                <a:gsLst>
                  <a:gs pos="2917">
                    <a:srgbClr val="282828"/>
                  </a:gs>
                  <a:gs pos="30000">
                    <a:srgbClr val="282828"/>
                  </a:gs>
                </a:gsLst>
                <a:lin ang="5400000" scaled="0"/>
              </a:gradFill>
              <a:latin typeface="Segoe UI Semilight"/>
            </a:endParaRPr>
          </a:p>
        </p:txBody>
      </p: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849463"/>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 </a:t>
            </a:r>
            <a:r>
              <a:rPr lang="en-US" sz="4000" b="1" u="sng" dirty="0">
                <a:solidFill>
                  <a:schemeClr val="bg1"/>
                </a:solidFill>
              </a:rPr>
              <a:t>https://aka.ms/ascend-car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303" y="1187644"/>
            <a:ext cx="11655078" cy="6555641"/>
          </a:xfrm>
        </p:spPr>
        <p:txBody>
          <a:bodyPr/>
          <a:lstStyle/>
          <a:p>
            <a:r>
              <a:rPr lang="en-US" sz="3600" dirty="0"/>
              <a:t>https://aka.ms/serverless-demos</a:t>
            </a:r>
          </a:p>
          <a:p>
            <a:r>
              <a:rPr lang="en-US" sz="3600" dirty="0"/>
              <a:t>http://azure.com/EventGrid </a:t>
            </a:r>
          </a:p>
          <a:p>
            <a:r>
              <a:rPr lang="en-US" sz="3600" dirty="0"/>
              <a:t>https://docs.microsoft.com/en-us/sandbox/functions-recipes/</a:t>
            </a:r>
          </a:p>
          <a:p>
            <a:r>
              <a:rPr lang="en-US" sz="3600" dirty="0"/>
              <a:t>https://github.com/Azure/Azure-Functions</a:t>
            </a:r>
          </a:p>
          <a:p>
            <a:r>
              <a:rPr lang="en-US" sz="3600" dirty="0"/>
              <a:t>http://markheath.net/post/azure-functions-choices</a:t>
            </a:r>
          </a:p>
          <a:p>
            <a:endParaRPr lang="en-US" sz="3600" dirty="0"/>
          </a:p>
          <a:p>
            <a:r>
              <a:rPr lang="en-US" sz="3600" dirty="0"/>
              <a:t>https://github.com/mcollier/PRESENTATION-WhatsNewInAzureServerless </a:t>
            </a:r>
          </a:p>
          <a:p>
            <a:endParaRPr lang="en-US" sz="3600" dirty="0"/>
          </a:p>
          <a:p>
            <a:endParaRPr lang="en-US" sz="3600"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904" y="4775182"/>
            <a:ext cx="5560940" cy="1791670"/>
          </a:xfrm>
        </p:spPr>
        <p:txBody>
          <a:bodyPr/>
          <a:lstStyle/>
          <a:p>
            <a:r>
              <a:rPr lang="sv-SE" sz="2800" dirty="0"/>
              <a:t>Henrik Fransas</a:t>
            </a:r>
            <a:br>
              <a:rPr lang="sv-SE" sz="2800" dirty="0"/>
            </a:br>
            <a:br>
              <a:rPr lang="sv-SE" sz="2800" dirty="0"/>
            </a:br>
            <a:r>
              <a:rPr lang="sv-SE" sz="2800" dirty="0"/>
              <a:t>Lab: Episerverless = Azure Functions + Episerver</a:t>
            </a:r>
            <a:br>
              <a:rPr lang="sv-SE" sz="2800" dirty="0"/>
            </a:br>
            <a:br>
              <a:rPr lang="sv-SE" sz="2800" dirty="0"/>
            </a:br>
            <a:r>
              <a:rPr lang="sv-SE" sz="2800" dirty="0"/>
              <a:t>3:15pm today</a:t>
            </a:r>
            <a:br>
              <a:rPr lang="sv-SE" sz="2800" dirty="0"/>
            </a:br>
            <a:r>
              <a:rPr lang="sv-SE" sz="2800" dirty="0"/>
              <a:t>Starvine  4</a:t>
            </a:r>
          </a:p>
        </p:txBody>
      </p:sp>
      <p:sp>
        <p:nvSpPr>
          <p:cNvPr id="3" name="Text Placeholder 2"/>
          <p:cNvSpPr>
            <a:spLocks noGrp="1"/>
          </p:cNvSpPr>
          <p:nvPr>
            <p:ph type="body" sz="quarter" idx="10"/>
          </p:nvPr>
        </p:nvSpPr>
        <p:spPr>
          <a:xfrm>
            <a:off x="6400799" y="1623156"/>
            <a:ext cx="5683251" cy="4711540"/>
          </a:xfrm>
        </p:spPr>
        <p:txBody>
          <a:bodyPr/>
          <a:lstStyle/>
          <a:p>
            <a:pPr marL="285750" indent="-285750">
              <a:spcAft>
                <a:spcPts val="1800"/>
              </a:spcAft>
            </a:pPr>
            <a:r>
              <a:rPr lang="en-US" sz="2400" dirty="0"/>
              <a:t>System developer since 1999</a:t>
            </a:r>
          </a:p>
          <a:p>
            <a:pPr marL="285750" indent="-285750">
              <a:spcAft>
                <a:spcPts val="1800"/>
              </a:spcAft>
            </a:pPr>
            <a:r>
              <a:rPr lang="en-US" sz="2400" dirty="0"/>
              <a:t>Episerver Most Valuable Professional (EMVP)</a:t>
            </a:r>
          </a:p>
          <a:p>
            <a:pPr marL="285750" indent="-285750">
              <a:spcAft>
                <a:spcPts val="1800"/>
              </a:spcAft>
            </a:pPr>
            <a:r>
              <a:rPr lang="en-US" sz="2400" dirty="0"/>
              <a:t>Episerver Technical Trainer</a:t>
            </a:r>
          </a:p>
          <a:p>
            <a:pPr marL="285750" indent="-285750">
              <a:spcAft>
                <a:spcPts val="1800"/>
              </a:spcAft>
            </a:pPr>
            <a:r>
              <a:rPr lang="en-US" sz="2400" dirty="0"/>
              <a:t>Azure nerd</a:t>
            </a:r>
          </a:p>
          <a:p>
            <a:pPr marL="285750" indent="-285750">
              <a:spcAft>
                <a:spcPts val="1800"/>
              </a:spcAft>
            </a:pPr>
            <a:r>
              <a:rPr lang="en-US" sz="2400" dirty="0"/>
              <a:t>Works at NetRelations</a:t>
            </a:r>
          </a:p>
        </p:txBody>
      </p:sp>
      <p:pic>
        <p:nvPicPr>
          <p:cNvPr id="19" name="Bildobjekt 18">
            <a:extLst>
              <a:ext uri="{FF2B5EF4-FFF2-40B4-BE49-F238E27FC236}">
                <a16:creationId xmlns:a16="http://schemas.microsoft.com/office/drawing/2014/main" id="{257D776D-2BB6-4684-830B-4F53BBA27A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7126" y="737704"/>
            <a:ext cx="2573541" cy="2536056"/>
          </a:xfrm>
          <a:prstGeom prst="rect">
            <a:avLst/>
          </a:prstGeom>
        </p:spPr>
      </p:pic>
      <p:pic>
        <p:nvPicPr>
          <p:cNvPr id="26" name="Picture 2">
            <a:extLst>
              <a:ext uri="{FF2B5EF4-FFF2-40B4-BE49-F238E27FC236}">
                <a16:creationId xmlns:a16="http://schemas.microsoft.com/office/drawing/2014/main" id="{0E39B4A8-2727-46A2-8517-1C621445B1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12470" y="5231816"/>
            <a:ext cx="1102880" cy="110288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5808380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C1F16C-E0F7-480F-90AA-9FCD484F7CF1}"/>
              </a:ext>
            </a:extLst>
          </p:cNvPr>
          <p:cNvSpPr txBox="1"/>
          <p:nvPr/>
        </p:nvSpPr>
        <p:spPr>
          <a:xfrm>
            <a:off x="0" y="2405062"/>
            <a:ext cx="12192000" cy="3351687"/>
          </a:xfrm>
          <a:prstGeom prst="rect">
            <a:avLst/>
          </a:prstGeom>
          <a:noFill/>
        </p:spPr>
        <p:txBody>
          <a:bodyPr wrap="square" lIns="182880" tIns="146304" rIns="182880" bIns="146304" rtlCol="0">
            <a:spAutoFit/>
          </a:bodyPr>
          <a:lstStyle/>
          <a:p>
            <a:pPr algn="ctr">
              <a:lnSpc>
                <a:spcPct val="90000"/>
              </a:lnSpc>
              <a:spcAft>
                <a:spcPts val="600"/>
              </a:spcAft>
            </a:pPr>
            <a:r>
              <a:rPr lang="en-US" sz="7200" dirty="0">
                <a:gradFill>
                  <a:gsLst>
                    <a:gs pos="2917">
                      <a:schemeClr val="tx1"/>
                    </a:gs>
                    <a:gs pos="30000">
                      <a:schemeClr val="tx1"/>
                    </a:gs>
                  </a:gsLst>
                  <a:lin ang="5400000" scaled="0"/>
                </a:gradFill>
              </a:rPr>
              <a:t>Microsoft Build</a:t>
            </a:r>
          </a:p>
          <a:p>
            <a:pPr algn="ctr">
              <a:lnSpc>
                <a:spcPct val="90000"/>
              </a:lnSpc>
              <a:spcAft>
                <a:spcPts val="600"/>
              </a:spcAft>
            </a:pPr>
            <a:r>
              <a:rPr lang="en-US" sz="4400" dirty="0">
                <a:gradFill>
                  <a:gsLst>
                    <a:gs pos="2917">
                      <a:schemeClr val="tx1"/>
                    </a:gs>
                    <a:gs pos="30000">
                      <a:schemeClr val="tx1"/>
                    </a:gs>
                  </a:gsLst>
                  <a:lin ang="5400000" scaled="0"/>
                </a:gradFill>
              </a:rPr>
              <a:t>May 7-9, 2018  //  Seattle, WA</a:t>
            </a:r>
          </a:p>
          <a:p>
            <a:pPr algn="ctr">
              <a:lnSpc>
                <a:spcPct val="90000"/>
              </a:lnSpc>
              <a:spcAft>
                <a:spcPts val="600"/>
              </a:spcAft>
            </a:pPr>
            <a:endParaRPr lang="en-US" sz="4400" dirty="0">
              <a:gradFill>
                <a:gsLst>
                  <a:gs pos="2917">
                    <a:schemeClr val="tx1"/>
                  </a:gs>
                  <a:gs pos="30000">
                    <a:schemeClr val="tx1"/>
                  </a:gs>
                </a:gsLst>
                <a:lin ang="5400000" scaled="0"/>
              </a:gradFill>
            </a:endParaRPr>
          </a:p>
          <a:p>
            <a:pPr algn="ctr">
              <a:lnSpc>
                <a:spcPct val="90000"/>
              </a:lnSpc>
              <a:spcAft>
                <a:spcPts val="600"/>
              </a:spcAft>
            </a:pPr>
            <a:r>
              <a:rPr lang="en-US" sz="4400" dirty="0">
                <a:gradFill>
                  <a:gsLst>
                    <a:gs pos="2917">
                      <a:schemeClr val="tx1"/>
                    </a:gs>
                    <a:gs pos="30000">
                      <a:schemeClr val="tx1"/>
                    </a:gs>
                  </a:gsLst>
                  <a:lin ang="5400000" scaled="0"/>
                </a:gradFill>
              </a:rPr>
              <a:t>BuildWindows.com</a:t>
            </a:r>
          </a:p>
        </p:txBody>
      </p:sp>
      <p:sp>
        <p:nvSpPr>
          <p:cNvPr id="22" name="Parallelogram 21">
            <a:extLst>
              <a:ext uri="{FF2B5EF4-FFF2-40B4-BE49-F238E27FC236}">
                <a16:creationId xmlns:a16="http://schemas.microsoft.com/office/drawing/2014/main" id="{C7317A8D-A6C0-4A0D-85FD-016C9F91EA50}"/>
              </a:ext>
            </a:extLst>
          </p:cNvPr>
          <p:cNvSpPr/>
          <p:nvPr/>
        </p:nvSpPr>
        <p:spPr bwMode="auto">
          <a:xfrm rot="423976">
            <a:off x="10723510" y="-96522"/>
            <a:ext cx="627794" cy="7058041"/>
          </a:xfrm>
          <a:prstGeom prst="parallelogram">
            <a:avLst>
              <a:gd name="adj" fmla="val 62705"/>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3" name="Parallelogram 22">
            <a:extLst>
              <a:ext uri="{FF2B5EF4-FFF2-40B4-BE49-F238E27FC236}">
                <a16:creationId xmlns:a16="http://schemas.microsoft.com/office/drawing/2014/main" id="{219079FA-D2A4-4C17-969D-B81F585DB34B}"/>
              </a:ext>
            </a:extLst>
          </p:cNvPr>
          <p:cNvSpPr/>
          <p:nvPr/>
        </p:nvSpPr>
        <p:spPr bwMode="auto">
          <a:xfrm rot="423976">
            <a:off x="10371085" y="-96523"/>
            <a:ext cx="627794" cy="7058041"/>
          </a:xfrm>
          <a:prstGeom prst="parallelogram">
            <a:avLst>
              <a:gd name="adj" fmla="val 62705"/>
            </a:avLst>
          </a:prstGeom>
          <a:solidFill>
            <a:srgbClr val="FF339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4" name="Parallelogram 23">
            <a:extLst>
              <a:ext uri="{FF2B5EF4-FFF2-40B4-BE49-F238E27FC236}">
                <a16:creationId xmlns:a16="http://schemas.microsoft.com/office/drawing/2014/main" id="{C8D5118A-05A3-4CA5-AC33-87042FD89015}"/>
              </a:ext>
            </a:extLst>
          </p:cNvPr>
          <p:cNvSpPr/>
          <p:nvPr/>
        </p:nvSpPr>
        <p:spPr bwMode="auto">
          <a:xfrm rot="423976">
            <a:off x="11075935" y="-96524"/>
            <a:ext cx="627794" cy="7058041"/>
          </a:xfrm>
          <a:prstGeom prst="parallelogram">
            <a:avLst>
              <a:gd name="adj" fmla="val 62705"/>
            </a:avLst>
          </a:prstGeom>
          <a:solidFill>
            <a:schemeClr val="tx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72602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18946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Elrätt-case-berlin">
  <a:themeElements>
    <a:clrScheme name="NetRelations">
      <a:dk1>
        <a:sysClr val="windowText" lastClr="000000"/>
      </a:dk1>
      <a:lt1>
        <a:sysClr val="window" lastClr="FFFFFF"/>
      </a:lt1>
      <a:dk2>
        <a:srgbClr val="929292"/>
      </a:dk2>
      <a:lt2>
        <a:srgbClr val="E7E6E6"/>
      </a:lt2>
      <a:accent1>
        <a:srgbClr val="000000"/>
      </a:accent1>
      <a:accent2>
        <a:srgbClr val="FFC222"/>
      </a:accent2>
      <a:accent3>
        <a:srgbClr val="0093D1"/>
      </a:accent3>
      <a:accent4>
        <a:srgbClr val="E1E1E1"/>
      </a:accent4>
      <a:accent5>
        <a:srgbClr val="6DB33F"/>
      </a:accent5>
      <a:accent6>
        <a:srgbClr val="EE3424"/>
      </a:accent6>
      <a:hlink>
        <a:srgbClr val="0563C1"/>
      </a:hlink>
      <a:folHlink>
        <a:srgbClr val="954F72"/>
      </a:folHlink>
    </a:clrScheme>
    <a:fontScheme name="NetRelations">
      <a:majorFont>
        <a:latin typeface="Rockwell"/>
        <a:ea typeface=""/>
        <a:cs typeface=""/>
      </a:majorFont>
      <a:minorFont>
        <a:latin typeface="AvenirNext LT Pro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noAutofit/>
      </a:bodyPr>
      <a:lstStyle>
        <a:defPPr>
          <a:defRPr smtClean="0"/>
        </a:defPPr>
      </a:lstStyle>
    </a:txDef>
  </a:objectDefaults>
  <a:extraClrSchemeLst/>
  <a:extLst>
    <a:ext uri="{05A4C25C-085E-4340-85A3-A5531E510DB2}">
      <thm15:themeFamily xmlns:thm15="http://schemas.microsoft.com/office/thememl/2012/main" name="NetR-PPT-mall-eng" id="{6346F798-996E-A84F-84BE-D35B367E8112}" vid="{ACB25C5A-8935-BE47-9223-2BE495581047}"/>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7.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56</TotalTime>
  <Words>3845</Words>
  <Application>Microsoft Office PowerPoint</Application>
  <PresentationFormat>Widescreen</PresentationFormat>
  <Paragraphs>610</Paragraphs>
  <Slides>36</Slides>
  <Notes>36</Notes>
  <HiddenSlides>1</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36</vt:i4>
      </vt:variant>
    </vt:vector>
  </HeadingPairs>
  <TitlesOfParts>
    <vt:vector size="58" baseType="lpstr">
      <vt:lpstr>Arial</vt:lpstr>
      <vt:lpstr>Avenir Next LT Pro Demi</vt:lpstr>
      <vt:lpstr>AvenirNext LT Pro</vt:lpstr>
      <vt:lpstr>AvenirNext LT Pro Regular</vt:lpstr>
      <vt:lpstr>Calibri</vt:lpstr>
      <vt:lpstr>Consolas</vt:lpstr>
      <vt:lpstr>Rockwell</vt:lpstr>
      <vt:lpstr>Rockwell Std Light</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Elrätt-case-berlin</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Serverless application platform components</vt:lpstr>
      <vt:lpstr>PowerPoint Presentation</vt:lpstr>
      <vt:lpstr>Azure Functions</vt:lpstr>
      <vt:lpstr>What is the “Functions” programming model?</vt:lpstr>
      <vt:lpstr>Language Support</vt:lpstr>
      <vt:lpstr>Demo </vt:lpstr>
      <vt:lpstr>PowerPoint Presentation</vt:lpstr>
      <vt:lpstr>PowerPoint Presentation</vt:lpstr>
      <vt:lpstr>What’s new in Azure Functions</vt:lpstr>
      <vt:lpstr>Henrik Fransas  Lab: Episerverless = Azure Functions + Episerver  3:15pm today Starvine  4</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Demo</vt:lpstr>
      <vt:lpstr>What’s new in Event Grid</vt:lpstr>
      <vt:lpstr>Demo – Altogether</vt:lpstr>
      <vt:lpstr>Resources</vt:lpstr>
      <vt:lpstr>Henrik Fransas  Lab: Episerverless = Azure Functions + Episerver  3:15pm today Starvine  4</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56</cp:revision>
  <dcterms:created xsi:type="dcterms:W3CDTF">2018-03-07T17:27:49Z</dcterms:created>
  <dcterms:modified xsi:type="dcterms:W3CDTF">2018-03-13T05:1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